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tags/tag16.xml" ContentType="application/vnd.openxmlformats-officedocument.presentationml.tags+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2.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3.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4.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5.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tags/tag48.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tags/tag49.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tags/tag50.xml" ContentType="application/vnd.openxmlformats-officedocument.presentationml.tags+xml"/>
  <Override PartName="/ppt/notesSlides/notesSlide25.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1.xml" ContentType="application/vnd.openxmlformats-officedocument.presentationml.tags+xml"/>
  <Override PartName="/ppt/notesSlides/notesSlide26.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2.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3.xml" ContentType="application/vnd.openxmlformats-officedocument.presentationml.tags+xml"/>
  <Override PartName="/ppt/notesSlides/notesSlide27.xml" ContentType="application/vnd.openxmlformats-officedocument.presentationml.notesSlide+xml"/>
  <Override PartName="/ppt/tags/tag54.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5.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56.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57.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ppt/tags/tag60.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1.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4.xml" ContentType="application/vnd.openxmlformats-officedocument.presentationml.tags+xml"/>
  <Override PartName="/ppt/tags/tag65.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68.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69.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0.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3.xml" ContentType="application/vnd.openxmlformats-officedocument.presentationml.notesSlide+xml"/>
  <Override PartName="/ppt/tags/tag80.xml" ContentType="application/vnd.openxmlformats-officedocument.presentationml.tags+xml"/>
  <Override PartName="/ppt/notesSlides/notesSlide34.xml" ContentType="application/vnd.openxmlformats-officedocument.presentationml.notesSlide+xml"/>
  <Override PartName="/ppt/charts/chart25.xml" ContentType="application/vnd.openxmlformats-officedocument.drawingml.chart+xml"/>
  <Override PartName="/ppt/tags/tag81.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notesSlides/notesSlide36.xml" ContentType="application/vnd.openxmlformats-officedocument.presentationml.notesSlide+xml"/>
  <Override PartName="/ppt/tags/tag83.xml" ContentType="application/vnd.openxmlformats-officedocument.presentationml.tags+xml"/>
  <Override PartName="/ppt/notesSlides/notesSlide37.xml" ContentType="application/vnd.openxmlformats-officedocument.presentationml.notesSlide+xml"/>
  <Override PartName="/ppt/tags/tag84.xml" ContentType="application/vnd.openxmlformats-officedocument.presentationml.tags+xml"/>
  <Override PartName="/ppt/notesSlides/notesSlide38.xml" ContentType="application/vnd.openxmlformats-officedocument.presentationml.notesSlide+xml"/>
  <Override PartName="/ppt/tags/tag85.xml" ContentType="application/vnd.openxmlformats-officedocument.presentationml.tags+xml"/>
  <Override PartName="/ppt/notesSlides/notesSlide39.xml" ContentType="application/vnd.openxmlformats-officedocument.presentationml.notesSlide+xml"/>
  <Override PartName="/ppt/tags/tag86.xml" ContentType="application/vnd.openxmlformats-officedocument.presentationml.tags+xml"/>
  <Override PartName="/ppt/notesSlides/notesSlide40.xml" ContentType="application/vnd.openxmlformats-officedocument.presentationml.notesSlide+xml"/>
  <Override PartName="/ppt/tags/tag87.xml" ContentType="application/vnd.openxmlformats-officedocument.presentationml.tags+xml"/>
  <Override PartName="/ppt/notesSlides/notesSlide4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42.xml" ContentType="application/vnd.openxmlformats-officedocument.presentationml.notesSlide+xml"/>
  <Override PartName="/ppt/tags/tag100.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1.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3.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4.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5.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06.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43.xml" ContentType="application/vnd.openxmlformats-officedocument.presentationml.notesSlide+xml"/>
  <Override PartName="/ppt/tags/tag124.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2"/>
  </p:notesMasterIdLst>
  <p:handoutMasterIdLst>
    <p:handoutMasterId r:id="rId123"/>
  </p:handoutMasterIdLst>
  <p:sldIdLst>
    <p:sldId id="2147472762" r:id="rId5"/>
    <p:sldId id="2147472796" r:id="rId6"/>
    <p:sldId id="2147472797" r:id="rId7"/>
    <p:sldId id="2147472798" r:id="rId8"/>
    <p:sldId id="2147472801" r:id="rId9"/>
    <p:sldId id="2147472805" r:id="rId10"/>
    <p:sldId id="2147472804" r:id="rId11"/>
    <p:sldId id="2147472814" r:id="rId12"/>
    <p:sldId id="2147472813" r:id="rId13"/>
    <p:sldId id="2147472802" r:id="rId14"/>
    <p:sldId id="2147472823" r:id="rId15"/>
    <p:sldId id="2147472809" r:id="rId16"/>
    <p:sldId id="2147472807" r:id="rId17"/>
    <p:sldId id="2147472815" r:id="rId18"/>
    <p:sldId id="2147472816" r:id="rId19"/>
    <p:sldId id="2147472819" r:id="rId20"/>
    <p:sldId id="2147472820" r:id="rId21"/>
    <p:sldId id="2147472808" r:id="rId22"/>
    <p:sldId id="2147472812" r:id="rId23"/>
    <p:sldId id="2147472817" r:id="rId24"/>
    <p:sldId id="2147472822" r:id="rId25"/>
    <p:sldId id="2147472806" r:id="rId26"/>
    <p:sldId id="2147472795" r:id="rId27"/>
    <p:sldId id="2147472794" r:id="rId28"/>
    <p:sldId id="2147472772" r:id="rId29"/>
    <p:sldId id="2147472753" r:id="rId30"/>
    <p:sldId id="2147472725" r:id="rId31"/>
    <p:sldId id="2147472754" r:id="rId32"/>
    <p:sldId id="2147472784" r:id="rId33"/>
    <p:sldId id="2147472684" r:id="rId34"/>
    <p:sldId id="433" r:id="rId35"/>
    <p:sldId id="2147472686" r:id="rId36"/>
    <p:sldId id="2147472783" r:id="rId37"/>
    <p:sldId id="2147472726" r:id="rId38"/>
    <p:sldId id="2147472727" r:id="rId39"/>
    <p:sldId id="2147472728" r:id="rId40"/>
    <p:sldId id="2147472675" r:id="rId41"/>
    <p:sldId id="2147472729" r:id="rId42"/>
    <p:sldId id="2147472785" r:id="rId43"/>
    <p:sldId id="2147472731" r:id="rId44"/>
    <p:sldId id="2147472730" r:id="rId45"/>
    <p:sldId id="2147472732" r:id="rId46"/>
    <p:sldId id="2147472733" r:id="rId47"/>
    <p:sldId id="2147472734" r:id="rId48"/>
    <p:sldId id="2147472735" r:id="rId49"/>
    <p:sldId id="2147472786" r:id="rId50"/>
    <p:sldId id="2147472759" r:id="rId51"/>
    <p:sldId id="2147472737" r:id="rId52"/>
    <p:sldId id="2147472739" r:id="rId53"/>
    <p:sldId id="2147472740" r:id="rId54"/>
    <p:sldId id="2147472741" r:id="rId55"/>
    <p:sldId id="2147472787" r:id="rId56"/>
    <p:sldId id="2147472745" r:id="rId57"/>
    <p:sldId id="2147472746" r:id="rId58"/>
    <p:sldId id="2147472788" r:id="rId59"/>
    <p:sldId id="2147472742" r:id="rId60"/>
    <p:sldId id="2147472743" r:id="rId61"/>
    <p:sldId id="2147472744" r:id="rId62"/>
    <p:sldId id="2147472789" r:id="rId63"/>
    <p:sldId id="2147472748" r:id="rId64"/>
    <p:sldId id="2147472749" r:id="rId65"/>
    <p:sldId id="2147472750" r:id="rId66"/>
    <p:sldId id="2147472751" r:id="rId67"/>
    <p:sldId id="2147472790" r:id="rId68"/>
    <p:sldId id="2147472757" r:id="rId69"/>
    <p:sldId id="2147472756" r:id="rId70"/>
    <p:sldId id="2147472755" r:id="rId71"/>
    <p:sldId id="2147472752" r:id="rId72"/>
    <p:sldId id="2147472761" r:id="rId73"/>
    <p:sldId id="2147472791" r:id="rId74"/>
    <p:sldId id="2147472760" r:id="rId75"/>
    <p:sldId id="2147472792" r:id="rId76"/>
    <p:sldId id="2147472678" r:id="rId77"/>
    <p:sldId id="2147472676" r:id="rId78"/>
    <p:sldId id="2147472681" r:id="rId79"/>
    <p:sldId id="2147472677" r:id="rId80"/>
    <p:sldId id="2147472683" r:id="rId81"/>
    <p:sldId id="2147472679" r:id="rId82"/>
    <p:sldId id="2147472673" r:id="rId83"/>
    <p:sldId id="2147472680" r:id="rId84"/>
    <p:sldId id="2147472687" r:id="rId85"/>
    <p:sldId id="2147472688" r:id="rId86"/>
    <p:sldId id="2147472689" r:id="rId87"/>
    <p:sldId id="2147472690" r:id="rId88"/>
    <p:sldId id="2147472691" r:id="rId89"/>
    <p:sldId id="2147472692" r:id="rId90"/>
    <p:sldId id="2147472693" r:id="rId91"/>
    <p:sldId id="2147472694" r:id="rId92"/>
    <p:sldId id="2147472695" r:id="rId93"/>
    <p:sldId id="2147472696" r:id="rId94"/>
    <p:sldId id="2147472697" r:id="rId95"/>
    <p:sldId id="2147472698" r:id="rId96"/>
    <p:sldId id="2147472699" r:id="rId97"/>
    <p:sldId id="2147472700" r:id="rId98"/>
    <p:sldId id="2147472701" r:id="rId99"/>
    <p:sldId id="2147472703" r:id="rId100"/>
    <p:sldId id="2147472702" r:id="rId101"/>
    <p:sldId id="2147472704" r:id="rId102"/>
    <p:sldId id="2147472707" r:id="rId103"/>
    <p:sldId id="2147472708" r:id="rId104"/>
    <p:sldId id="2147472709" r:id="rId105"/>
    <p:sldId id="2147472710" r:id="rId106"/>
    <p:sldId id="2147472711" r:id="rId107"/>
    <p:sldId id="2147472712" r:id="rId108"/>
    <p:sldId id="2147472713" r:id="rId109"/>
    <p:sldId id="2147472714" r:id="rId110"/>
    <p:sldId id="2147472715" r:id="rId111"/>
    <p:sldId id="2147472716" r:id="rId112"/>
    <p:sldId id="2147472718" r:id="rId113"/>
    <p:sldId id="2147472719" r:id="rId114"/>
    <p:sldId id="2147472720" r:id="rId115"/>
    <p:sldId id="2147472721" r:id="rId116"/>
    <p:sldId id="2147472722" r:id="rId117"/>
    <p:sldId id="2147472723" r:id="rId118"/>
    <p:sldId id="2147472724" r:id="rId119"/>
    <p:sldId id="2147472682" r:id="rId120"/>
    <p:sldId id="2147472747" r:id="rId121"/>
  </p:sldIdLst>
  <p:sldSz cx="12192000" cy="6858000"/>
  <p:notesSz cx="6858000" cy="9144000"/>
  <p:custDataLst>
    <p:tags r:id="rId1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3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p:scale>
          <a:sx n="82" d="100"/>
          <a:sy n="82" d="100"/>
        </p:scale>
        <p:origin x="1722" y="696"/>
      </p:cViewPr>
      <p:guideLst>
        <p:guide orient="horz" pos="2136"/>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handoutMaster" Target="handoutMasters/handoutMaster1.xml"/><Relationship Id="rId128"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ags" Target="tags/tag1.xml"/><Relationship Id="rId129"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24/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2 2240,'68'-45'7944,"130"-78"-7382,-188 117-545,14-7 77,0-1 1,0-2 0,-2 0-1,0-1 1,30-30-1,-52 47-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8-161,-207 140-962,207-134 838,7-5 131,2 0 0,1 1 0,0 1 0,1 1 0,1 1-1,-19 26 1,34-44 96,1 1-1,0-1 1,-1 0-1,1 0 0,0 0 1,0 1-1,-1-1 1,1 0-1,0 0 1,0 0-1,-1 1 0,1-1 1,0 0-1,0 1 1,0-1-1,0 0 1,0 1-1,-1-1 0,1 0 1,0 0-1,0 1 1,0-1-1,0 0 0,0 1 1,0-1-1,0 0 1,0 1-1,0-1 1,0 0-1,0 1 0,0-1 1,0 0-1,0 1 1,1-1-1,-1 0 0,0 1 1,0-1-1,0 0 1,0 1-1,0-1 1,1 0-1,-1 0 0,0 1 1,0-1-1,1 0 1,-1 1-1,20-5 13,24-17 135,92-54 192,132-99 1,-265 172-323,3-2 36,0 0 0,0-1 1,0 0-1,-1 1 0,0-2 0,0 1 0,0 0 0,-1-1 0,5-9 0,-8 15-45,-1 0-1,0-1 0,0 1 0,0 0 1,0 0-1,1 0 0,-1 0 0,0 0 1,0-1-1,0 1 0,0 0 0,0-1 1,0 1-1,0 0 0,0 0 0,0-1 1,0 1-1,0 0 0,0-1 0,0 1 1,0 0-1,0-1 0,-1 1 0,1 0 1,0 0-1,0-1 0,0 1 0,0 0 1,-1 0-1,1-1 0,0 1 0,0 0 1,0 0-1,-1 0 0,1-1 0,0 1 1,0 0-1,-1 0 0,1 0 1,0 0-1,0-1 0,-1 1 0,1 0 1,0 0-1,-1 0 0,1 0 0,0 0 1,0 0-1,-1 0 0,1 0 0,0 0 1,-1 0-1,1 0 0,0 0 0,-1 0 1,1 0-1,0 0 0,0 0 0,-1 1 1,-18 3-26,-21 14-579,0 2-1,1 2 0,-62 47 0,52-35-401,28-20 536,-13 7 134,2 2 1,0 0-1,2 3 0,-33 35 1,140-110-440,25-20 922,-52 37 368,-2-2 0,-2-2 1,-1-3-1,49-51 0,-84 72 177,-21 15-103,-29 18-455,-117 85-2080,30-16 433,105-72 1333,2-2 140,2 1 0,0 0 0,0 2 0,1-2 0,0 3 0,2 1 0,-20 22 0,78-65 166,115-78 1207,-87 60 146,118-98 0,-248 169-369,-119 88-2205,66-39 357,-53 47 57,162-116 2,14-7 441,18-11 108,106-79 179,-26 16 354,-96 68-322,4-2 123,-1-1 1,0 0-1,-1-1 1,0 0 0,17-21-1,-51 42 588,-17 16-843,-70 42-274,79-52 19,0 0 0,2 2 0,0 1 0,-29 27-1,54-45 297,0 0-1,0 0 1,0 0-1,0 0 0,1 0 1,-1 0-1,0 0 0,0 0 1,0 0-1,0 0 1,0 0-1,0 0 0,0 0 1,0 0-1,0 1 1,0-1-1,0 0 0,0 0 1,0 0-1,0 0 1,0 0-1,1 0 0,-1 0 1,0 0-1,0 0 1,0 1-1,0-1 0,0 0 1,0 0-1,0 0 1,0 0-1,0 0 0,0 0 1,0 0-1,0 0 1,-1 1-1,1-1 0,0 0 1,20-10-377,24-15-143,277-183 2021,-185 119-104,-303 209-1687,114-79-559,-89 55-1,122-84 883,20-12-32,0 0 0,0 0 1,0 0-1,0 0 0,0 0 0,0 0 1,0 0-1,0 0 0,0 0 1,0 0-1,0 0 0,0 0 1,0 0-1,0 1 0,0-1 0,0 0 1,1 0-1,-1 0 0,0 0 1,0 0-1,0 0 0,0 0 1,33-18-188,165-128 194,-86 59 126,-99 77-92,35-24 197,-2-1-1,-2-3 0,45-48 1,-89 86-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4 91-96,19-10-116,61-47-109,113-88 219,0 0 1,52-34-1,13-10 160,-31 23 14,29-25 164,-95 72 109,-7 5-114,-20 12-72,-33 22-155,-183 144-9,122-86 67,35-21-417,244-196 48,-69 51 446,131-79 0,-192 128 284,-27 18 86,-23 14-58,-13 12-391,1 2-1,1 1 1,1 1 0,-39 39-1,15-13 0,-18 10 1,42-37 5,1 1 0,1 2 0,1-1 0,-30 40 1,111-108-390,316-226 248,-253 198 502,-212 148-355,-94 95-1,0 2 64,70-77 37,291-231-554,89-61 458,-233 179 6,44-31 298,-616 486 371,505-408-618,13-9-64,46-44-126,287-252-62,-125 115 378,-168 143 31,-28 21-56,-31 22-114,-133 124-167,89-72 179,-136 93-1,317-248-349,200-186 286,-216 179 177,-252 248-385,65-65 227,27-27 88,74-63-104,11-7-75,15-11-71,129-145-84,37-14 438,-514 501-326,202-201 263,152-153-212,45-34-1,27-25 34,-33 24 107,-56 54 29,-12 13-44,-14 15-32,-325 304-286,321-308 257,17-16-5,-1 1 1,-1-1-1,2 2 1,-1 0 0,1 0-1,0 0 1,-6 11-1,54-48-140,132-109-2,212-156 533,-662 492 193,42-27-572,230-167-12,-9 6 4,0 0 1,0 1-1,2 0 0,-16 15 1,28-22-84,9-5 38,11-8-4,293-196-84,-30 19 617,-774 550-298,472-348-247,-9 6-191,-42 47 0,127-110-872,32-29 943,119-72-1,-116 83 201,28-15 1104,-325 238-964,-92 78-146,230-179-100,194-150-318,-50 30 330,302-219 206,-899 666 145,417-311-266,80-59-47,21-16-1,6-5-5,38-22-82,161-123 0,-127 88 326,125-74 0,-295 193-219,-164 137 0,160-117-6,83-70 14,8-5-6,0-1 1,0 1 0,0 0 0,0 0-1,1 1 1,-6 7 0,29-15-131,5-11 81,-1 1 0,0-3 0,24-21 0,19-11-12,141-103 129,-102 72 283,-264 176-121,51-24-902,48-33 361,-60 51 0,182-125 169,320-241 976,-377 272-854,29-25 423,-32 23-56,-21 15-205,-56 38-522,-124 104 0,143-107 343,42-32 36,16-10-101,32-21-62,326-245 32,-176 125 312,-161 118-10,-16 11 44,-17 11-9,-48 30-208,2 3 1,-80 62 0,-7 8 15,133-99-6,0-1 0,2 0-1,-1 1 0,1-1 1,0 2-1,0-1 0,1 2 1,-7 9-1,72-55-399,292-196 369,-301 202 138,-33 22 105,-1 0-1,27-23 0,-41 32-192,0 0 1,0 0-1,0 0 0,0 0 0,0 0 1,0 0-1,0 0 0,0 0 0,0 0 0,-1 0 1,1 0-1,0 0 0,0 0 0,0 0 1,0 0-1,0 0 0,0 0 0,0 0 0,0 0 1,0 0-1,0 0 0,-1 0 0,1 0 1,0 0-1,0 0 0,0 0 0,0 0 0,0 0 1,0 0-1,0 0 0,0 0 0,0 0 1,0 0-1,0-1 0,0 1 0,0 0 0,0 0 1,0 0-1,0 0 0,0 0 0,0 0 1,-1 0-1,1 0 0,0 0 0,0 0 1,0-1-1,-18 8 182,-23 12-224,-127 88-346,9-4 0,137-89 237,33-16-161,37-20 11,219-153 127,-158 97 204,-61 41 112,-33 25 115,-32 24 136,-14 9-461,-1-1 0,-43 18-1,42-22-360,1 2-1,-50 32 0,49-27-273,-61 33-1,79-48 506,354-227-418,-289 176 1748,-115 80-31,-35 23-1233,-4 1-800,-94 73 0,389-265 374,-107 78 635,-55 36 131,0-2 1,-2 0 0,0-2 0,26-25 0,-39 25 522,-14 21-729,0-1 0,0 1 0,-1 0-1,1 0 1,0 0 0,0-1 0,-1 1-1,1 0 1,0 0 0,-1 0 0,1 0 0,0 0-1,-1 0 1,1 0 0,0 0 0,-1-1-1,1 1 1,0 0 0,0 0 0,-1 0 0,1 0-1,0 1 1,-1-1 0,1 0 0,0 0-1,-1 0 1,1 0 0,0 0 0,-1 0 0,1 0-1,0 1 1,0-1 0,-1 0 0,1 0-1,-1 1 1,-41 20 295,-239 167-1239,108-70 272,163-111 526,30-20 9,33-24 3,107-75 29,43-34 265,-193 139-19,-1-2 0,1 1-1,-2-1 1,1-1 0,9-12 0,-18 22-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0-252,-487 332-2065,519-348 2067,0 0 1,0 0-1,0 0 0,0 0 1,0 0-1,0 0 0,0 0 1,0 0-1,0 0 0,1 1 1,-1-1-1,0 0 0,0 0 1,0 0-1,0 0 0,0 0 1,0 0-1,0 0 0,0 1 1,0-1-1,26-14-66,36-25 12,290-207 1290,-340 238-1095,-1 1 147,0-1 1,0-1-1,11-10 0,-54 34 494,-181 143-755,99-76-15,-46 32-14,399-285-763,-96 64 775,-66 48 8,-42 32 189,-27 21 80,-10 9 173,-67 60-401,15-16-43,4 1 0,2 3 0,-75 98-1,123-148-10,-1-1-1,1 0 0,0 0 0,-1 1 0,1-1 0,0 0 0,-1 1 1,1-1-1,0 0 0,-1 1 0,1-1 0,0 1 0,0-1 0,-1 0 1,1 1-1,0-1 0,0 1 0,0-1 0,0 1 0,-1-1 1,1 1-1,0-1 0,0 0 0,0 1 0,0-1 0,0 1 0,0-1 1,0 1-1,0-1 0,1 1 0,-1-1 0,0 1 0,0-1 1,0 1-1,0-1 0,1 1 0,17-8-24,26-23 12,282-249 177,-310 261-47,-25 20 25,-31 24-86,-142 121-96,116-91 68,-10-3 45,111-83-177,-1-1 0,45-52 0,46-42 205,-225 248-163,10 4 446,164-208 56,-22 20-433,-37 46 16,-1 0-1,-2 0 1,1-2-1,-2 1 1,0-2 0,-2 1-1,15-36 1,-23 52-26,-1 0 0,1 0 0,-1 0 0,0 0 0,1 0 0,-1 0 0,0 0 1,0 0-1,0 0 0,1 0 0,-1 0 0,-1 0 0,1 0 0,0 0 0,0-1 0,0 1 0,0 0 0,-1 0 0,1 0 0,-1-1 0,0 2-5,1-1 0,-1 1 0,0 0 0,1 0 0,-1 0-1,0 0 1,1 0 0,-1 0 0,0 0 0,1 0 0,-1 0-1,0 0 1,1 0 0,-1 0 0,0 1 0,1-1 0,-1 0-1,1 0 1,-1 1 0,1-1 0,-1 0 0,0 1-1,0 0 1,-35 31-257,-104 156 83,111-148 212,18-25 9,19-28-69,11-17-39,10-27-48,-16 33 99,-1 0-1,-1 0 1,-1-2-1,7-25 1,-18 43-304,-8 21 114,-8 20 3,-9 26 719,-3-1 1,-40 58-1,113-204 51,-33 68-840,-1 0 1,-1-1-1,-1 1 0,-1-2 0,0 1 0,6-44 0,-97 258-1293,80-178 1707,3-10-7,0-1 1,-1 2-1,0-1 1,1 0 0,-2 0-1,1 0 1,-1 0-1,-3 5 1,5-10-115,1-1-1,-1 1 1,0-1 0,1 0-1,-1 1 1,1-1-1,-1 0 1,1 1 0,-1-1-1,1 0 1,-1 0 0,1 1-1,0-1 1,-1 0 0,1 0-1,0 0 1,0 1 0,0-1-1,0 0 1,-1 0-1,1 0 1,0 0 0,0 1-1,1-1 1,-1 0 0,0 0-1,0 0 1,1-1 0,-1-27 29,0 29-47,0-14-117,0 0 1,1 0 0,1 0 0,0 1-1,1-1 1,1 1 0,0-1 0,1 1-1,0 0 1,11-19 0,-68 189-339,43-132 517,7-17 44,0 0 0,0-1-1,-1 1 1,0-1 0,0 1 0,-1-1 0,0 0 0,0-1 0,-1 1 0,0-1-1,-6 6 1,29-57 325,7-6-618,41-69-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8 559 3289,'29'-133'6400,"-31"150"-6149,1-1 1,0 0 0,1 1 0,4 29 0,-2-32-233,0-2 0,-1 2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6 9,-20 322-537,11-81 392,2-7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7-67,-1 112-13,-3 94-437,1-29 514,-1 0-1,-8 48 0,47-328 244,-38 272-395,1 0 0,1-1 0,10 40 1,-1 2 107,-11-61 31,9 39 56,1-32 58,-9-10-100,0 1 1,-1-1 0,1 1-1,0-1 1,0 1-1,0-1 1,0 0 0,-1 1-1,1-1 1,0 0 0,-1 0-1,1 1 1,-1-1 0,1 0-1,-1 0 1,1 0-1,-1 0 1,1-2 0,18-42 70,-3-1 0,-1 0 0,14-82 0,-18 74-50,-3 35-100,-5 38-24,-3 38-8,-14 60 59,7-77 197,-1 63 0,8-124-133,-1-32 72,3 2 0,13-86 1,-12 124-99,-1 7-5,-1-1 0,1 1-1,-1-1 1,0 1-1,-1-1 1,0 1-1,0 0 1,-1-11-1,-13 36-277,-86 263 120,87-255 244,10-40-65,9-48-45,6 7-26,3-1 0,28-67-1,-68 158-294,15-9 318,1 2 0,2-1-1,1 1 1,1 0 0,2 0 0,0 40-1,0-31 134,9-94 275,-1 25-361,-2 0 0,-1 0 0,-3-42-1,-4 62-242,-2 21 29,-2 20 8,9-29 193,-8 82-200,8-76 189,0 0-1,1 0 0,-1 1 1,1-1-1,1 1 0,-1-1 0,1 0 1,6 13-1,-8-19 15,1 0-1,-1-1 1,1 1 0,-1 0 0,1-1-1,-1 1 1,1-1 0,0 1 0,-1-1-1,1 1 1,0-1 0,-1 0 0,1 1 0,0-1-1,0 0 1,0 0 0,-1 1 0,1-1-1,0 0 1,0 0 0,0 0 0,-1 0-1,1 0 1,0 0 0,0 0 0,0 0-1,-1 0 1,1-1 0,0 1 0,0 0 0,0 0-1,-1-1 1,1 1 0,0 0 0,-1-1-1,1 1 1,0-1 0,-1 1 0,1-1-1,0 1 1,-1-1 0,1 0 0,-1 1 0,1-1-1,0-1 1,27-30 60,-13 6 90,0 0 0,-2-1-1,-1-1 1,-1-1-1,9-35 1,13-33 258,-27 73-364,-7 21-44,-4 15-30,-5 27-18,1-1-1,-7 74 1,11-67 56,-12 29 175,56-329-148,-31 221-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5 84,48-210 222,2-12-69,4-27-17,12-47-59,-8 52-36,-2 0-1,0 1 1,-2-1-1,3-51 0,-24 122-291,7 10 226,-2 92-1,7-122 153,4-21 13,3-18-27,2-17-70,-1-1 0,-2 1-1,-1-1 1,-1 2-1,-2-1 1,-6-32-1,12 217-574,-2-145 559,7 42 7,-8-49 0,1 0-1,0 0 0,-1 0 0,1 0 0,0-1 1,1 1-1,-1 0 0,0-1 0,1 1 1,-1-1-1,1 1 0,0-1 0,3 3 0,-4-5-4,-1 0 1,1 0-1,-1 0 0,1 0 0,-1-1 0,1 1 0,-1 0 0,1 0 0,-1-1 0,0 1 0,1 0 0,-1-1 0,1 1 0,-1 0 0,0-1 0,1 1 0,-1-1 1,0 1-1,1-1 0,-1 1 0,0 0 0,0-1 0,0 1 0,1-1 0,-1 1 0,0-1 0,0 1 0,0-1 0,0 0 0,0 1 0,0-2 0,5-19 46,-5 21-48,34-247 115,-42 372-321,12 180 0,-2-298 399,0-14-64,5-34-7,4-57-58,12-163-137,-26 376-713,-14 165 956,12-252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1-150,0-2-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0 0,0 4 229,41-188 276,-25 64-387,-2 1 0,0-1 0,-1-1-1,-3-31 1,-8 95-348,2-13 289,-19 171 607,32-263-408,-3 27-145,1 1-1,1 0 1,3 0-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2 0,-1 2 0,-1 19 0,6-89 72,-3-59 1,-14 182-645,0-6 498,5 17 145,8-71 158,6-44-154,4-63-27,4-15-174,-13 164-312,-8 3 327,2-22 136,0 0 1,2 0-1,5 52 1,2-138 312,-1 18-337,-2 5-42,1-25-87,2-1 0,3 1 0,22-77 0,-35 156-180,1 0-1,1 39 1,-3 20 409,-4-16 85,5-38 54,3-23-1,2-7 132,53-241-568,-29 141-981,-20 86 583,-5 25 57,-8 30 113,-3 2 274,-9 79 0,15-81 181,-1-1 0,-19 65 0,25-100-54,0-1-1,0 1 1,-1 0-1,1 0 0,0 0 1,0 0-1,0 0 1,-1-1-1,1 1 1,-1 0-1,1 0 0,0 0 1,-1-1-1,1 1 1,-1 0-1,0-1 1,1 1-1,-1 0 1,1-1-1,-1 1 0,0-1 1,0 1-1,0 0 1,-3-21 213,7-50-139,-2 63-81,2-47-262,16-70 1,-16 106 129,1 1 0,1 0 0,1 0 0,1 0 0,0 1 0,1 0 0,0 0 0,12-14 0,-26 43 85,1 1 0,1 0 1,-4 22-1,-2 2 218,-1 3 36,-48 146 650,80-291-75,37-75-2185,-5 64-3674,-49 107 4472,-10 16 559,-11 24 266,-80 291 5499,164-607-8462,-63 266 1766,0-2-1,15-38 0,-51 174 3687,10-59-2264,16-37 47,-2 0-1,0-1 1,-1 0 0,-15 22 0,13-31 133,11-25-398,15-32-218,-14 42 8,16-40-24,3 0-1,1 2 0,53-79 1,-83 164-12,4-11 47,-7 10 424,-1 0-1,-1-1 0,-2 0 1,-30 53-1,65-156 35,9-19-449,-21 57-134,2 0 1,0 1-1,15-28 0,-10 24-179,-22 49-36,-7 23 226,-27 75 62,36-106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0 0,-49 201-275,-7 28 770,33-135 109,6-22-159,9-20-70,-8 4-76,8-48-1,-13 55-49,1 0 0,1 0 0,0 0 0,16-32 1,-29 73-93,1 1 0,2 1-1,0-1 1,-1 27 0,-1 0 56,-15 84 605,80-425-391,-62 352-865,4-38 717,-1 1 1,0-1 0,-2 1 0,-2-1 0,0-1-1,-11 33 1,16-55-27,0 0-1,0 0 0,0 0 1,0 0-1,0 0 1,0 0-1,0 0 1,0-1-1,0 1 1,0 0-1,0 0 0,0 0 1,0 0-1,0 0 1,0 0-1,0 0 1,0 0-1,-1 0 0,1 0 1,0 0-1,0 0 1,0 0-1,0-1 1,0 1-1,0 0 0,0 0 1,0 0-1,0 0 1,0 0-1,0 0 1,0 0-1,-1 0 0,1 0 1,0 0-1,0 0 1,0 0-1,0 0 1,0 0-1,0 0 1,0 0-1,0 0 0,0 0 1,0 0-1,0 0 1,-1 0-1,1 0 1,0 0-1,0 0 0,0 0 1,0 0-1,0 0 1,0 1-1,0-1 1,0 0-1,0 0 0,0 0 1,0 0-1,-2-15 83,1-19-69,8-2 1,-3 8-113,-12 51-41,-6 23 141,-2 1 1,-2-2 0,-2 0-1,-3-1 1,-34 51-1,39-69 24,-48 66-655,58-83 319,0 0 0,-1 0 0,0-1 0,-1-1 0,1 0 0,-3 0 1,-11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2-1,0 1 1,-1 0-1,1 0 1,-1-1-1,1 1 1,-1-1-1,0 1 1,0-1-1,0 0 1,1 0-1,-1 0 1,-5 1-1,6-3-4,1 1 1,-1-1-1,0 1 1,1-1-1,-1 0 0,0 0 1,1 0-1,-1 0 1,1 0-1,-1 0 1,1 0-1,0 0 0,-1 0 1,1-1-1,0 1 1,-1-1-1,1 1 0,0 0 1,0 0-1,0-1 1,1 1-1,-1-1 0,0 0 1,1 1-1,-1-4 1,-5-14-6,1 0 1,1-1-1,0 1 1,2-1 0,-1-23-1,-7-46 162,5 78-62,-2 21-125,-1 22-107,6-1 92,1 0 0,6 58 0,-2-59 345,-1 0 0,-1-1 1,-6 45-1,4-69-291,-4 21 368,0-23-145,0-18-102,-21-122 39,20 99-152,5 9-24,1 25 3,1 0-1,-1 0 1,0 0 0,0 0 0,0 0-1,-1 0 1,0 0 0,1 0 0,-1 0-1,-1 0 1,1 0 0,-1 0 0,-2-4-1,3 8-2,1 0 0,-1 1 0,0-1-1,1 0 1,-1 1 0,0-1-1,1 1 1,-1-1 0,1 1-1,-1-1 1,1 1 0,-1 0-1,1-1 1,0 1 0,-1 0-1,1-1 1,0 1 0,-1 0 0,1-1-1,0 1 1,0 0 0,0 0-1,-1-1 1,1 1 0,0 0-1,0 0 1,0-1 0,1 3-1,-9 34-78,7-31 65,-1 13 4,1-1 0,0 1-1,4 25 1,-2 41 42,-2-78-11,0 0-1,0-1 1,0 1 0,-1 0 0,0-1-1,0 0 1,-1 1 0,0-1 0,-6 11-1,9-17-11,0 0-1,0 1 1,0-1-1,-1 0 1,1 0-1,0 1 0,0-1 1,0 0-1,0 0 1,0 0-1,0 0 1,0 1-1,-1-1 0,1 0 1,0 0-1,0 0 1,0 0-1,0 1 1,-1-1-1,1 0 0,0 0 1,0 0-1,0 0 1,-1 0-1,1 0 0,0 0 1,0 0-1,0 0 1,-1 0-1,1 0 1,0 0-1,0 0 0,0 0 1,-1 0-1,1 0 1,0 0-1,0 0 1,-1 0-1,1 0 0,0 0 1,0 0-1,0 0 1,-1 0-1,1 0 1,0-1-1,-4-12 49,2-23-20,2 33-25,2-245 26,-3 233-52,-2 23-27,-1 24-34,8 62 55,-1-67 43,-2 0 0,0 0 0,-2 0 0,-1 0 0,-1 0 0,-10 40-1,16-84 36,-1-2 0,1-34-1,0-13-37,24-90-65,-16 258-211,-13-67 269,-1 0-1,-2 0 1,-1-1-1,-15 47 0,6-35 29,6-20 28,16-69-33,18-44-24,-18 68-6,-1 0 1,-1-1-1,-1 0 1,3-22-1,-10 79-32,-12 55 0,-10 23 80,29-128-38,11-42 28,-14 51-48,0 0 0,0 0 0,-1 0 0,1 1-1,-1-1 1,0 0 0,0 0 0,0 0 0,-1 0 0,0 0 0,-1-5 0,1 11-8,-1 0 0,1 0 0,-1 0 1,1 0-1,0 1 0,0-1 0,0 0 0,1 1 0,-1-1 0,0 1 0,1 3 0,-7 63-46,4-40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8 232,-101 125-56,-20 26 29,-23 31-47,22-29-97,0 0 0,-1 0 0,-11 11 0,12-14-10,-1 2 0,1-1-1,1 1 1,-8 13 0,14-14-65,11-11 13,12-12 9,5-13 45,0 0 1,-2-2-1,-1 1 1,-1-3 0,34-59-1,-76 116 63,-1-1 0,-1-1 0,-1 0 0,-37 28 0,72-66-133,-1 0-1,-1-1 1,-1-1-1,16-31 1,-1 4 36,1 4 9,17-31 108,-45 66 67,-8 9-96,-12 10-33,-37 38-64,-59 70 0,194-203-302,-39 35 331,-22 29 30,-1-1 1,-1 0-1,1 0 0,17-36 0,-32 44 184,-10 13-102,-12 12-44,-17 16-80,4 0 0,0 2-1,-58 76 1,93-107-295,5-6 105,13-12 15,20-24 121,-17 15 109,-2-1-1,-1 0 0,-1 0 0,-1-2 0,-2 0 0,20-55 0,-31 62 182,-14 29-92,-15 28-89,-2 28-28,22-46 13,-1 0 1,-16 24-1,11-23 2,19-32-54,17-31-5,-20 38 42,0-1 0,0 0 0,1 1 0,0-1 0,0 1 0,6-6 0,-7 7-4,-17 59-127,7-32 130,5-16 4,0 1-1,0-1 1,-1 0 0,0 1 0,-1-1 0,1-1 0,-9 12-1,16-30-7,-1 0 0,0 1 0,0-2-1,-1 1 1,0-23 0,2-4-18,24-121-76,-31 183-18,1 0 0,2 46 0,1-14 73,-1-32 42,0 3 45,-2 1-1,-7 47 1,18-102 12,1 1 1,19-37 0,1-1-41,-27 61-34,-2 7 6,-4 18 4,-7 28 18,4-29 0,4-10-2,-1 0 1,-1 0 0,1 0 0,-1-1 0,-1 1-1,-6 8 1,63-104-103,-35 68 98,-20 30-109,-23 35-154,25-47 257,-5 12-31,2-8 25,1 1-1,0 0 1,0 0-1,1 1 0,0-1 1,0 0-1,0 1 1,0-1-1,1 1 1,-1 7-1,31-45-93,18-37-2497,-40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4.796"/>
    </inkml:context>
    <inkml:brush xml:id="br0">
      <inkml:brushProperty name="width" value="0.05" units="cm"/>
      <inkml:brushProperty name="height" value="0.05" units="cm"/>
    </inkml:brush>
  </inkml:definitions>
  <inkml:trace contextRef="#ctx0" brushRef="#br0">1 1 600,'15'12'6433,"10"6"-4207,69 40-5318,-80-50 2005,-1 0 58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5.447"/>
    </inkml:context>
    <inkml:brush xml:id="br0">
      <inkml:brushProperty name="width" value="0.05" units="cm"/>
      <inkml:brushProperty name="height" value="0.05" units="cm"/>
    </inkml:brush>
  </inkml:definitions>
  <inkml:trace contextRef="#ctx0" brushRef="#br0">0 0 1096,'76'65'5730,"-45"-40"-6580,0 1 0,-2 1 0,27 33 0,-49-51 457</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6.598"/>
    </inkml:context>
    <inkml:brush xml:id="br0">
      <inkml:brushProperty name="width" value="0.05" units="cm"/>
      <inkml:brushProperty name="height" value="0.05" units="cm"/>
    </inkml:brush>
  </inkml:definitions>
  <inkml:trace contextRef="#ctx0" brushRef="#br0">12 8 1896,'5'4'3593,"9"12"-2993,-3-4-621,206 170-1219,-205-173 749</inkml:trace>
  <inkml:trace contextRef="#ctx0" brushRef="#br0" timeOffset="1">0 0 2160,'7'5'2851,"7"11"-2973,-9-10 241,69 59-87,-31-28-178,41 47 0,-78-78-723,-2-2 359</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7.730"/>
    </inkml:context>
    <inkml:brush xml:id="br0">
      <inkml:brushProperty name="width" value="0.05" units="cm"/>
      <inkml:brushProperty name="height" value="0.05" units="cm"/>
    </inkml:brush>
  </inkml:definitions>
  <inkml:trace contextRef="#ctx0" brushRef="#br0">12 27 2681,'15'13'4574,"49"45"-4491,-24-26-800,51 53 0,-77-71 174</inkml:trace>
  <inkml:trace contextRef="#ctx0" brushRef="#br0" timeOffset="1">14 26 2585,'-1'2'2240,"3"0"-1024,1-1-968,7 8-48,17 15-72,-10-11-32,6 3-40,1 3 0,0 1-8,-1 0 8,-3 1 8,0-1-7,-2-4-346,-3 0-551,-5-6 544</inkml:trace>
  <inkml:trace contextRef="#ctx0" brushRef="#br0" timeOffset="2">1 1 2865,'22'15'4582,"19"21"-4052,0 0-583,4 2-1122,48 54-1,-84-82 596</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8.718"/>
    </inkml:context>
    <inkml:brush xml:id="br0">
      <inkml:brushProperty name="width" value="0.05" units="cm"/>
      <inkml:brushProperty name="height" value="0.05" units="cm"/>
    </inkml:brush>
  </inkml:definitions>
  <inkml:trace contextRef="#ctx0" brushRef="#br0">21 1 1720,'0'0'961,"2"2"-225,1 1-80,0 1-152,3 2-88,2 1-112,1 2-48,4 2-120,2 2-56,5 3-40,-1-1 0,-1 1 8,-1-2 8,-8-2 0,0-2-64,-4-5-720,-3-3 536</inkml:trace>
  <inkml:trace contextRef="#ctx0" brushRef="#br0" timeOffset="1">1 9 1536,'0'1'736,"0"1"-335,2 0 287,1 2-672,-1 0-8,-1-2-8,0-1-16</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1.126"/>
    </inkml:context>
    <inkml:brush xml:id="br0">
      <inkml:brushProperty name="width" value="0.05" units="cm"/>
      <inkml:brushProperty name="height" value="0.05" units="cm"/>
    </inkml:brush>
  </inkml:definitions>
  <inkml:trace contextRef="#ctx0" brushRef="#br0">28 31 1000,'0'0'59,"0"0"0,0-1 1,0 1-1,0 0 0,0-1 0,0 1 0,0-1 0,-1 1 0,1 0 0,0-1 0,0 1 0,0 0 0,0-1 1,-1 1-1,1 0 0,0-1 0,0 1 0,-1 0 0,1 0 0,0-1 0,0 1 0,-1 0 0,1 0 1,0-1-1,-1 1 0,1 0 0,0 0 0,-1 0 0,1 0 0,-1 0 0,1-1 0,0 1 0,-1 0 1,1 0-1,0 0 0,-1 0 0,1 0 0,-1 0 0,1 0 0,0 0 0,-1 0 0,1 1 0,0-1 1,-1 0-1,0 0 0,-8 3 959,7-8-872,0-4 277,1 22-190,1-12-268,3-13 1356,-2 9-698,1 11-680,-2-6 50,0-1 0,0 0 1,1 1-1,-1-1 0,0 0 0,1 0 1,-1 1-1,1-1 0,0 0 0,-1 0 1,1 0-1,0 0 0,0 0 0,0 0 0,1 1 1,-2-2 5,1 0 0,-1 0 1,1 0-1,-1 1 0,1-1 1,-1 0-1,1-1 0,-1 1 1,1 0-1,-1 0 0,0 0 1,1 0-1,-1 0 0,1 0 1,-1-1-1,1 1 0,-1 0 1,0 0-1,1 0 0,-1-1 1,1 1-1,-1 0 0,0-1 1,1 1-1,-1 0 0,0-1 1,0 1-1,1-1 1,-1 1-1,0 0 0,0-1 1,1 1-1,-1-1 0,0 1 1,0-1-1,0 1 0,0 0 1,0-1-1,0 1 0,0-1 1,0 1-1,0-1 0,0 0 1,2-10-28,1-5 919,-2 26-407,-1-9-490,1 31 21,-2-31-21,1 0 1,0 0-1,0 0 1,0 0-1,0 0 0,0 0 1,0-1-1,0 1 1,0 0-1,0 0 1,1 0-1,-1 0 0,0 0 1,1 0-1,-1 0 1,0-1-1,1 1 1,-1 0-1,1 0 1,-1 0-1,1-1 0,-1 1 1,1 0-1,0-1 1,-1 1-1,1 0 1,0-1-1,1 1 0,-1-5 4,1-1 0,-1 1-1,1-1 1,-1 1 0,-1-1-1,1 1 1,-1-1 0,0-6-1,-1 32 449,0-18-455,1-1 1,0 1-1,0 0 0,0-1 1,1 1-1,-1-1 1,1 1-1,-1-1 1,1 1-1,0-1 0,1 4 1,14-46 1608,-16 73-1322,0-32-296,0 0-1,0 1 1,0-1 0,0 0-1,0 0 1,0 0 0,0 0-1,0 1 1,0-1 0,1 0-1,-1 0 1,1 0 0,-1 0-1,1 0 1,-1 0 0,1 0 0,-1 0-1,1 0 1,0 0 0,0 0-1,1 1 1,0-6-13,1-1 1,-1 0-1,0 0 1,0 0-1,-1 0 1,3-10-1,-3 9 119,-1 6 117,-5 34 213,4-32-425,1-1 0,0 1 0,-1-1 0,1 1 0,0-1 1,0 1-1,0-1 0,0 1 0,1-1 0,-1 1 1,0-1-1,0 1 0,1-1 0,-1 0 0,1 1 0,0-1 1,-1 1-1,1-1 0,0 0 0,0 0 0,1 2 1,12-45 314,-14 42-291,0 0 0,0 0 0,0 0 0,0 0 1,0 0-1,0 0 0,0 0 0,0 0 0,0 0 1,0 0-1,0 0 0,0 0 0,1 0 0,-1 0 0,0 1 1,0-1-1,0 0 0,0 0 0,0 0 0,0 0 1,0 0-1,0 0 0,0 0 0,0 0 0,0 0 0,0 0 1,0 0-1,1 0 0,-1 0 0,0 0 0,0 0 1,0 0-1,0 0 0,0 0 0,0 0 0,0 0 1,0 0-1,0 0 0,0 0 0,0 0 0,1 0 0,-1 0 1,0 0-1,0 0 0,0 0 0,0-1 0,0 1 1,0 0-1,0 0 0,0 0 0,0 0 0,0 0 0,3 15 200,-3-11-240,0 1 0,1-1 0,0 0-1,0 1 1,0-1 0,0 0 0,1 0 0,3 6 0,12-55-123,-14 39 616,-5 14-217,-1 7-238,4 19-115,2-30-100,3-20 148,-4-4 368,-2 14-57,1 19-138,-1-10-124,0 32-57,0-34 55,0 1 1,0-1 0,0 1 0,0-1-1,0 1 1,0-1 0,1 1-1,-1 0 1,0-1 0,1 0-1,0 1 1,-1-1 0,1 1 0,0-1-1,0 0 1,1 3 0,12-49-24,-14 33 613,-1 29-479,0-11-129,1 1 0,0-1 0,1 1 0,0-1 0,0 1 0,2 7 0,-3-14 18,0 0 0,0 0-1,0 0 1,0 0 0,0 0 0,0 0-1,1 0 1,-1 0 0,0 0-1,0 1 1,0-1 0,0 0-1,0 0 1,0 0 0,0 0-1,1 0 1,-1 0 0,0 0-1,0 0 1,0 0 0,0 0-1,0 0 1,0 0 0,0 0-1,1 0 1,-1 0 0,0 0-1,0 0 1,0 0 0,0 0-1,0-1 1,0 1 0,0 0-1,1 0 1,-1 0 0,0 0 0,0 0-1,0 0 1,0 0 0,0 0-1,0 0 1,0 0 0,0 0-1,0-1 1,0 1 0,0 0-1,0 0 1,1 0 0,-1 0-1,0 0 1,0 0 0,0 0-1,0-1 1,0 1 0,0 0-1,0 0 1,0 0 0,0 0-1,0 0 1,0 0 0,0-1-1,0 1 1,0 0 0,-1 0-1,1 0 1,0 0 0,0 0-1,5-17-9,3-6 290,-4 27-167,-2 18-122,2 5 23,-4-27-13,0 0 0,0 1-1,-1-1 1,1 1 0,0-1 0,0 1 0,0-1 0,0 0 0,0 1 0,0-1 0,0 1 0,1-1 0,-1 1 0,0-1 0,0 0 0,0 1-1,0-1 1,0 0 0,1 1 0,-1-1 0,0 1 0,0-1 0,1 0 0,-1 1 0,0-1 0,0 0 0,1 0 0,-1 1 0,0-1 0,1 0 0,-1 0-1,1 1 1,-1-1 0,0 0 0,1 0 0,-1 0 0,1 0 0,-1 1 0,0-1 0,1 0 0,1-4 7,-1 1 1,0 0-1,0-1 1,0 1 0,-1-1-1,1 1 1,-1-1-1,0 1 1,0-1-1,0 1 1,-1-6-1,1 6 27,0 3-5,0 9-17,1-1 1,0 1 0,0 0-1,1-1 1,0 1 0,6 13-1,-6-28-39,0 0-1,-1 1 0,0-1 1,1 0-1,-2 0 0,1-8 1,0 21 35,0 0 0,0 0 0,1-1 0,0 1 0,0-1 0,1 1 0,5 8 0,-7-55-74,-1 41 63,0 0 0,-1 1-1,1-1 1,0 0-1,0 1 1,1-1 0,-1 0-1,0 1 1,0-1-1,1 0 1,-1 1 0,1-1-1,-1 0 1,1 0 0,-1 0-1,1 1 1,0-1-1,0 0 1,-1 0 0,1 0-1,0 0 1,0 0-1,0 0 1,0 0 0,0-1-1,0 1 1,0 0-1,1 0 1,-1-1 0,0 1-1,0-1 1,1 1-1,-1-1 1,2 1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2.514"/>
    </inkml:context>
    <inkml:brush xml:id="br0">
      <inkml:brushProperty name="width" value="0.05" units="cm"/>
      <inkml:brushProperty name="height" value="0.05" units="cm"/>
    </inkml:brush>
  </inkml:definitions>
  <inkml:trace contextRef="#ctx0" brushRef="#br0">214 194 3017,'-1'0'-28,"0"0"191,-1 0 1,1 1-1,0-1 1,0 0 0,0 0-1,0 0 1,0 0-1,0-1 1,0 1 0,0 0-1,0 0 1,0 0-1,0-1 1,0 1 0,0-1-1,0 1 1,0-1-1,0 1 1,0-1-1,1 1 1,-1-1 0,0 0-1,0 0 1,0 1-1,1-1 1,-2-2 0,39 38 163,-28-28-299,0 0-1,-1 0 1,-1 1 0,1 0-1,12 18 1,-27-36 23,0 0 1,-1 1-1,-14-14 0,-18-24 303,30 34-223,0 1 1,0 0-1,-1 1 0,-1 0 1,0 1-1,0 0 0,-23-13 1,96 70-253,-49-37 170,-1-1 1,-1 1-1,1 1 0,-2 0 0,17 23 0,-72-61 254,-18-39-272,46 46 81,0 1 0,-28-23 0,43 40-435,9 7 120,24 21 44,66 60-30,-88-79 97,-1 2 0,0-1 0,0 1-1,-1 0 1,8 15 0,-19-31-1,-1 1 1,0 0 0,0 0-1,-11-8 1,-4-4 68,-6-7 2,2 4 209,2-2 0,0-1 0,-31-44 0,114 120-586,84 75-1384,-128-111 108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3.219"/>
    </inkml:context>
    <inkml:brush xml:id="br0">
      <inkml:brushProperty name="width" value="0.05" units="cm"/>
      <inkml:brushProperty name="height" value="0.05" units="cm"/>
    </inkml:brush>
  </inkml:definitions>
  <inkml:trace contextRef="#ctx0" brushRef="#br0">6 26 1032,'-6'-21'2930,"8"16"-1027,17 25-395,6 7-1719,15 9 108,-12-12-474,-2 1 1,26 31-1,-41-43-3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2 1472,'-13'13'3321,"26"6"-2849,-13-18-476,34 33 96,0-1-1,2-2 1,1-1 0,47 25-1,2 6 30,-51-35-88,25 19 103,1-2 0,71 34 0,-118-68-116,1 0-1,-2 1 1,0 1 0,0 0-1,-1 0 1,-1 1-1,0 1 1,10 15-1,-8-11 214,1 0-1,0-1 0,2-1 1,17 13-1,-30-27-224,1 0 1,-1 0-1,0 0 1,1 0-1,-1-1 0,1 1 1,-1-1-1,1 0 1,-1 0-1,1 0 1,-1-1-1,1 1 0,-1-1 1,1 0-1,-1 0 1,0 0-1,1 0 1,4-4-1,-3-1 3,3 1 7,11-3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1-1,37 25 162,-68-60 0,-118-110 232,175 140-484,38 41 15,-1-1 1,-30-24 0,46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1 1,0 1-1,12 8 0,20 20-17,189 180 51,-14-12 244,-192-178-395,-24-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9-10-590,-257-182-3356,202 133 4368,-105-104 1,152 133 575,27 26-381,18 16-509,31 24-113,394 263 68,-431-292-10,0 0 1,0-1 0,1-1-1,-1 0 1,21 4-1,-26-11 54,-12-6-62,-15-11-61,19 18 19,-65-54-577,27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4.290"/>
    </inkml:context>
    <inkml:brush xml:id="br0">
      <inkml:brushProperty name="width" value="0.05" units="cm"/>
      <inkml:brushProperty name="height" value="0.05" units="cm"/>
    </inkml:brush>
  </inkml:definitions>
  <inkml:trace contextRef="#ctx0" brushRef="#br0">0 18 1592,'17'18'5485,"31"21"-4372,8 7-1269,23 32 209,-49-43-2880,-27-30 1976</inkml:trace>
  <inkml:trace contextRef="#ctx0" brushRef="#br0" timeOffset="1">14 12 1008,'-9'-11'3531,"16"14"-780,16 15-1737,51 44-653,-55-47-579,0 0-1,-1 1 1,-1 1 0,19 24 0,-32-35-1004,-1-4 503</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4.657"/>
    </inkml:context>
    <inkml:brush xml:id="br0">
      <inkml:brushProperty name="width" value="0.05" units="cm"/>
      <inkml:brushProperty name="height" value="0.05" units="cm"/>
    </inkml:brush>
  </inkml:definitions>
  <inkml:trace contextRef="#ctx0" brushRef="#br0">15 85 2745,'-15'5'3160,"15"-7"-2648,0 1-96,0 1-71,0-1-65,1-2-64,0-3-16,1-1-64,3-12-40,-4 14-48,1 1 0,-1 1 0,0-1-304,-1 1 192</inkml:trace>
  <inkml:trace contextRef="#ctx0" brushRef="#br0" timeOffset="1">22 70 3601,'-2'-1'3240,"2"-9"-2455,2-13-201,1 14-184,0 1-56,-1 1-216,-1 2-32,0 1-168,0 2-424,-1 2 344</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6.345"/>
    </inkml:context>
    <inkml:brush xml:id="br0">
      <inkml:brushProperty name="width" value="0.05" units="cm"/>
      <inkml:brushProperty name="height" value="0.05" units="cm"/>
    </inkml:brush>
  </inkml:definitions>
  <inkml:trace contextRef="#ctx0" brushRef="#br0">17 26 1208,'-15'-20'2936,"13"15"-56,13 15-2370,63 67-600,-64-69-24</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6.720"/>
    </inkml:context>
    <inkml:brush xml:id="br0">
      <inkml:brushProperty name="width" value="0.05" units="cm"/>
      <inkml:brushProperty name="height" value="0.05" units="cm"/>
    </inkml:brush>
  </inkml:definitions>
  <inkml:trace contextRef="#ctx0" brushRef="#br0">1 75 1696,'0'0'6339,"8"-18"-4579,-6 13-1957,1 0-1,-1 0 0,0-1 1,0 1-1,0-1 0,-1 1 0,2-10 1,-3 10-535</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7.095"/>
    </inkml:context>
    <inkml:brush xml:id="br0">
      <inkml:brushProperty name="width" value="0.05" units="cm"/>
      <inkml:brushProperty name="height" value="0.05" units="cm"/>
    </inkml:brush>
  </inkml:definitions>
  <inkml:trace contextRef="#ctx0" brushRef="#br0">2 70 1408,'-1'-1'4257,"1"-2"-3809,0-3-104,1-1-128,3-12-48,-3 13-32,1 2-23,-2-2-57,0 2-136,0-1-569,-3 0-463,1 2 632</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8.655"/>
    </inkml:context>
    <inkml:brush xml:id="br0">
      <inkml:brushProperty name="width" value="0.05" units="cm"/>
      <inkml:brushProperty name="height" value="0.05" units="cm"/>
    </inkml:brush>
  </inkml:definitions>
  <inkml:trace contextRef="#ctx0" brushRef="#br0">3 5 2336,'-2'-3'1217,"1"2"-385,1 0-176,3 1 416,-2 0-832,5 3-88,2 5-48,14 15-40,-13-14-16,1 0-8,2 2 8,-1-3 8,-1 1-8,-2-3-600,-2-2 42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21.198"/>
    </inkml:context>
    <inkml:brush xml:id="br0">
      <inkml:brushProperty name="width" value="0.05" units="cm"/>
      <inkml:brushProperty name="height" value="0.05" units="cm"/>
    </inkml:brush>
  </inkml:definitions>
  <inkml:trace contextRef="#ctx0" brushRef="#br0">38 79 2945,'7'-14'2994,"-3"17"-1046,-1 32-1371,1 2-451,-3-25-12,-3-27 75,4-78-479,1 113 347,0-3 49,-1-1 0,0 0 0,-1 27-1,-6-116 342,4 126-319,-4-94 176,5 32-288,0 0 1,-1-1-1,-1 1 1,0 0-1,-4-14 1,9 35-59,-1 0 0,0 0 0,0 0 0,-1 0 0,-1 23 1,0-23 78,-1-21-11,1 1 0,-2 0 0,1-1 0,-6-16 0,3 49-288,4-23 263,-1 0 1,1 0-1,0 0 0,0 0 1,0 0-1,-1 0 0,1 0 1,0 1-1,1-1 0,-1 0 1,0 0-1,0 0 1,0 0-1,1 0 0,-1 0 1,0 0-1,1 0 0,-1 0 1,1 0-1,0 0 0,-1 0 1,2 1-1,-5-39 79,2 21-78,0 8 2,0 0 1,0 0-1,0 0 0,-1 0 0,0 1 0,-6-15 0,8 22-10,-1 0 0,1 1 0,-1-1-1,1 1 1,0-1 0,-1 0 0,1 1 0,-1-1 0,1 1 0,0-1 0,0 1 0,-1-1 0,1 1 0,0-1 0,0 1 0,0-1 0,0 1-1,-1-1 1,1 1 0,0 0 0,0-1 0,0 1 0,0-1 0,0 1 0,0-1 0,1 1 0,-1-1 0,0 1 0,0-1 0,0 1 0,1 0 0,-1 26-99,14 52 145,-39-176 3,27 131-377,-2-30 346,0 1 0,0-1 0,0 0 0,0 1 1,1-1-1,0 0 0,0 1 0,0-1 0,3 8 1,-5-16 18,-1 0 1,1 0 0,0 0-1,0 0 1,1-1 0,-1 1-1,1-7 1,-3-15 0,-5-6-49,7 54-171,2 3 169,-2-19 30,1 1 1,0-1-1,1 0 0,-1 1 0,1-1 0,0 0 0,4 10 0,-7-55 169,-5 15-1907</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22.958"/>
    </inkml:context>
    <inkml:brush xml:id="br0">
      <inkml:brushProperty name="width" value="0.05" units="cm"/>
      <inkml:brushProperty name="height" value="0.05" units="cm"/>
    </inkml:brush>
  </inkml:definitions>
  <inkml:trace contextRef="#ctx0" brushRef="#br0">16 63 2897,'-1'-1'305,"-1"0"1,1 0-1,0-1 1,0 1-1,-1 0 1,1-1 0,0 1-1,0-1 1,1 0-1,-1 1 1,0-1-1,0 0 1,1 1-1,-1-1 1,1 0 0,0 0-1,-1 0 1,1 1-1,0-5 1,3-13-57,-3 26-204,0 0 0,0 1 0,1-1 0,0 0 0,0 1 0,1-1 0,4 13 0,3 10 77,-27-128 198,26 131-514,0 0 416,-18-69-76,5 18-132,0-4-28,4 20-65,3 12-81,0 0 150,-1-1 15,0 0 1,1 0-1,0 0 0,0 0 0,1-1 0,0 0 0,5 10 0,-12-70 84,-3 28-70,3 9-28,8 24-253,4 13 148,-2-6-68,0-1 0,1 1 0,0-1 0,13 17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0.765"/>
    </inkml:context>
    <inkml:brush xml:id="br0">
      <inkml:brushProperty name="width" value="0.05" units="cm"/>
      <inkml:brushProperty name="height" value="0.05" units="cm"/>
    </inkml:brush>
  </inkml:definitions>
  <inkml:trace contextRef="#ctx0" brushRef="#br0">63 130 1520,'1'-9'6615,"12"-1"-4993,22-6-2321,-31 14 1406,3-2-542,0 0 1,0 0-1,0 0 1,-1-1-1,0 0 1,0 0-1,9-11 1,-9 11-109,-21 17-55,-1 0 0,0-1-1,-1-1 1,-26 12-1,140-67-151,-150 72 83,32-17-37,1 0 1,-26 18-1,101-56 59,-46 25 103,0 0-1,0-1 1,-1-1-1,1 1 1,-1-1-1,0-1 1,11-9-1,-63 39 163,11-8-223,27-12 1,1-2 1,0 2 0,-1-1 1,1 0-1,1 1 0,-1 0 1,0 0-1,-3 5 0,72-45-11,-32 16 285,3-1-3,-28 17-130,-10 8 10,-11 6-141,0 0 0,-1-1 0,-22 10 1,20-11-33,0 1 1,-22 16-1,112-58-355,-60 27 437,-4 2 49,0 0-1,0-1 0,0 0 0,-1-1 1,1 0-1,12-12 0,-29 25-92,-1 0-1,0-1 1,-1 0 0,0 0-1,-15 6 1,-33 20-304,42-22 196,12-8 64,-1 1-1,1-1 1,0 1-1,0 0 1,1 0-1,-1 0 1,-5 7 0,44-25-342,112-77 706,-274 174-175,120-75-242,9-6 15,18-10-28,30-17 64,25-18 416,-141 92-271,46-38-126,12-7-5,0 1 1,1-1-1,0 2 0,0-1 0,0 1 0,0 0 0,-7 7 0,55-32-354,-4 2 319,-29 15 59,0 0 0,-1-1 1,1 0-1,-1 0 1,0 0-1,0-1 0,10-9 1,-24 19 3,0 1 1,0-1-1,0-1 1,-1 1-1,0-1 1,0-1-1,-16 6 1,14-5-27,0-1 0,1 1 0,-1 1 0,1 0 0,0 0 0,1 1 0,-1 0 0,-9 9 0,26-22-37,0 1 0,0 1 0,1 0 0,0 0 0,15-6 0,0-1 173,38-19 298,-93 42-283,22-8-207,-1 0 0,1 0 0,0 1 0,0 0 0,1 0 0,-1 1-1,1 0 1,0 1 0,-10 8 0,29-23-3,0-1-1,1 1 1,0 1-1,17-9 0,-16 9 75,-40 21-92,19-10-258,0 1-1,0 0 1,1 0 0,-1 1 0,-8 6-1,-9 17-133,25-25 458,15-18 44,-5 4 14,-5 5-1,1 0 1,0 0-1,0 1 1,13-9-1,-29 20-15,1 1 0,1-1 0,-1 2 0,1-1 1,0 1-1,1 0 0,-7 10 0,59-45 65,61-35 1052,-124 64-1203,-89 61-822,165-101 1062,-45 30-31,0 0-1,0 0 1,-1-2-1,20-17 0,-139 98 34,136-89-393,-14 9 409,1 0 0,-1-2 0,-1 1 0,0-2 0,0 0 0,16-20 0,-45 45-411,0-1-1,-23 14 0,25-18-102,-38 21-1108,51-29 1420,0-1 0,1 1 0,-1 0 0,0 0 1,0 0-1,0 0 0,0 0 0,0 0 0,0-1 0,0 1 1,0 0-1,0 0 0,0 0 0,0 0 0,-1 0 0,1 0 1,0-1-1,0 1 0,0 0 0,0 0 0,0 0 1,0 0-1,0 0 0,0 0 0,0 0 0,0-1 0,0 1 1,0 0-1,-1 0 0,1 0 0,0 0 0,0 0 0,0 0 1,0 0-1,0 0 0,0 0 0,0 0 0,-1 0 0,1 0 1,0 0-1,0 0 0,0 0 0,0 0 0,0 0 0,-1 0 1,1 0-1,0 0 0,0 0 0,0 0 0,0 0 1,0 0-1,0 0 0,-1 0 0,1 0 0,0 0 0,0 0 1,0 0-1,0 0 0,0 0 0,0 0 0,23-24-147,2 5 558,-18 14-174,0 0 0,-1 0 0,0 0 0,0-1 0,8-10 0,-31 31-364,0-2 0,-1 0 0,-20 12 0,34-23-43,6-4 65,16-13 52,48-40 686,-59 46-306,-18 19-206,-45 36-212,19-24-374,22-14-106,41-27 518,11-5 444,-24 16-37,-1 0 0,0-1 0,0 0-1,19-21 1,-46 47-1116,-2-1-1,-31 22 0,37-30 115</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1.993"/>
    </inkml:context>
    <inkml:brush xml:id="br0">
      <inkml:brushProperty name="width" value="0.05" units="cm"/>
      <inkml:brushProperty name="height" value="0.05" units="cm"/>
    </inkml:brush>
  </inkml:definitions>
  <inkml:trace contextRef="#ctx0" brushRef="#br0">12 0 368,'-2'8'3081,"3"37"-2593,3-27 129,-2-21 518,-3-34 715,0 18-2372,-5 71 380,3-42 536,4-36-248,-2-1-191,0 21-115,-3 19 34,5 17 62,0-20 134,0-19 344,-2 7-356,0 5-232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4 349,6-2 0,128 81 0,-198-151-76,-30-20-239,-21-16-202,-86-69-927,50 46 56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2.981"/>
    </inkml:context>
    <inkml:brush xml:id="br0">
      <inkml:brushProperty name="width" value="0.05" units="cm"/>
      <inkml:brushProperty name="height" value="0.05" units="cm"/>
    </inkml:brush>
  </inkml:definitions>
  <inkml:trace contextRef="#ctx0" brushRef="#br0">4 34 1328,'-4'29'3466,"6"-17"-3606,10-39 454,-8 1-224,-3 19 146,-1 19-177,0-7-98,-2 19 207,2-20 174,3-18 249,-1 1-580,0-13 79,1 20-222,0 9-244,-2 1 28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4'2'0,"0"0"0,0 0 0,0 0 8,-1-1 8,-1 0-8,1 0 8,-3 0 0,1 0 8</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0 94 1472,'-10'10'3321,"20"5"-2849,-10-15-476,26 26 96,0 0-1,2-3 1,0 0 0,35 20-1,3 4 30,-39-27-88,19 14 103,1-1 0,54 27 0,-91-53-116,1 0-1,-1 0 1,0 2 0,0-1-1,-1 1 1,0 0-1,-1 1 1,8 11-1,-6-8 214,1 0-1,-1-1 0,3 0 1,12 10-1,-23-21-224,1 0 1,0-1-1,-1 1 1,1 0-1,-1-1 0,1 1 1,0-1-1,0 0 1,-1 0-1,1 0 1,-1-1-1,1 1 0,0-1 1,0 0-1,-1 1 1,0-1-1,1 0 1,3-3-1,-2 0 3,2-1 7,9-1 8,-14 6-26,-1 0 1,0 0-1,1 0 1,-1 0-1,1 0 1,0 0-1,-1-1 1,1 1-1,-1 0 0,0 0 1,1 0-1,-1-1 1,1 1-1,-1 0 1,1 0-1,-1 0 1,0 0-1,0-1 1,1 1-1,-1-1 1,1 1-1,-1-1 1,0 1-1,1 0 1,-1 0-1,0-1 1,0 0-1,0 1 1,0-1-1,0 1 1,1 0-1,-1-1 1,0 1-1,0-1 1,0 1-1,0-1 0,0 0 1,0 1-1,0 0 1,0-1-1,0 1 1,0-1-1,0 0 1,-1 1-1,1 0 1,0 0-1,0-1 1,0 0-1,0 1 1,0-1-1,-1 1 1,1 0-1,0 0 1,-1-1-1,0 0 1,-21-29 33,18 25-39,4 5 5,0 0 0,0 0 1,0 0-1,0 1 0,0-1 0,0 0 1,0 0-1,0 0 0,0 0 1,1 0-1,-1 0 0,0 0 0,0 0 1,0 0-1,1 0 0,-1 0 1,0 0-1,0 0 0,0 0 0,1 0 1,-1 0-1,0 0 0,0 0 1,0 0-1,0 0 0,0 0 0,0 0 1,0 0-1,1 0 0,-1 0 1,0 0-1,0 0 0,0 0 0,1 0 1,-1 0-1,0 0 0,0 0 1,0 0-1,0 0 0,1-1 1,-1 1-1,0 0 0,0-1 2,0 0-1,0 1 1,0 0-1,0-1 1,0 0-1,0 1 0,0-1 1,0 0-1,0 1 1,0-1-1,0 1 1,0-1-1,-1 0 1,1 1-1,0 0 1,-1-1-1,1 0 1,0 1-1,-1-1 1,1 1-1,0 0 1,0-1-1,-2 0 1,-19-21 100,0 0 1,-2 2-1,0 0 1,-40-25-1,27 21 162,-50-46 0,-92-86 232,135 109-484,28 30 15,0 0 1,-23-18 0,35 33-8,-1-2 0,1 2 0,0 0 0,-1 0 0,0-1 0,0 1 0,-1 0 1,2 1-1,-2-1 0,1 2 0,0-2 0,-1 1 0,-7 1 0,3-3-36,-8 1-68,17 2 82,-1 1 0,1-1 0,-1 0 0,1 0 0,0 1 1,0-1-1,0 0 0,-1 0 0,1 0 0,-1 0 1,1 1-1,0-1 0,-1 0 0,1 1 0,0-1 0,-1 1 1,1-1-1,0 0 0,0 0 0,0 0 0,0 1 0,0-1 1,0 1-1,0-1 0,0 1 0,0-1 0,0 0 0,0 0 1,0 1-1,0 0 0,0-1 0,0 1 0,0-1 0,0 0 1,0 0-1,0 1 0,0-1 0,0 1 0,0-1 0,0 0 1,1 2-1,3 5-26,0 2 0,0-2 1,1 1-1,0-1 0,0 0 1,0 0-1,1 0 0,1-1 0,-1 0 1,1 1-1,9 5 0,16 15-17,143 139 51,-10-9 244,-147-137-395,-18-20 137,0 0 1,1 0-1,-1 0 0,0 0 1,0 0-1,0 0 0,0 0 1,0 1-1,0-1 1,0 0-1,0 0 0,0 0 1,0 0-1,0 0 0,1 0 1,-1 0-1,0 0 1,0 0-1,0 1 0,0-1 1,0 0-1,0 0 0,0 0 1,0 0-1,0 0 1,0 0-1,0 0 0,0 1 1,0-1-1,0 0 0,0 0 1,0 0-1,0 0 1,0 0-1,0 0 0,0 0 1,0 0-1,-1 0 0,1 0 1,0 0-1,0 0 1,0 0-1,0 0 0,0 0 1,0 0-1,0 0 0,0 0 1,0 0-1,0 1 0,0-1 1,-1 0-1,1 0 1,0 0-1,0 0 0,0 0 1,0 0-1,0 0 0,0 0 1,0 0-1,-1 0 1,1 0-1,0 0 0,-14-8-590,-197-139-3356,155 102 4368,-81-81 1,117 103 575,20 20-381,13 12-509,25 19-113,300 201 68,-329-223-10,1-1 1,-1 0 0,0-1-1,0-1 1,16 4-1,-19-8 54,-10-5-62,-11-9-61,14 14 19,-49-41-577,20 15 362</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2 6 592,'-19'-5'1214,"19"5"-1195,0 0 1,0 0-1,0 0 1,-1 0-1,1 1 0,0-1 1,0 0-1,0 0 1,0 0-1,0 0 0,-1 1 1,1-1-1,0 0 1,0 0-1,0 0 1,0 0-1,0 0 0,0 0 1,0 0-1,0 0 1,0 1-1,0-1 1,0 0-1,0 0 0,0 1 1,0-1-1,0 0 1,0 0-1,0 0 1,0 1-1,0-1 0,0 0 1,0 0-1,0 0 1,1 0-1,-1 0 0,0 0 1,0 0-1,0 0 1,0 0-1,0 1 1,1-1-1,-1 0 0,0 0 1,0 0-1,0 0 1,0 0-1,0 0 1,0 1-1,30 26 825,-20-18-1039,22 19 411,46 43 349,3-3 0,99 63 0,-152-117-76,-23-15-239,-16-12-202,-65-52-927,38 33 563</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27 145 704,'8'11'129,"1"-1"0,0 0 0,1-1 0,19 15-1,-4-2 86,54 44 948,136 89 0,-212-153-1134,13 8 220,-1-1-1,0 0 0,27 9 1,-42-18-246,0 0 1,0 0-1,0 1 1,0-1-1,0 0 1,0 0-1,0 0 1,0 0-1,0 0 1,0 0 0,0 0-1,0 1 1,1-1-1,-1 0 1,0 0-1,0 0 1,0 0-1,0 0 1,1 0-1,-1 0 1,0 0-1,0 0 1,0 0-1,0 0 1,1 0-1,-1 0 1,0 0-1,0 0 1,0 0 0,0 0-1,0 0 1,0 0-1,0 0 1,0 0-1,0-1 1,0 1-1,0 0 1,1 0-1,-1 0 1,0 0-1,0 0 1,0 0-1,0 0 1,0 0-1,0-1 1,1 1-1,-1 0 1,0 0 0,0 0-1,0 0 1,0-1-1,0 1 1,0 0-1,0 0 1,0 0-1,0 0 1,0-1-1,0 1 1,0 0-1,-7-9 70,-14-14-5,-265-196-1862,202 160 1869,56 41 509,18 15 156,16 14-88,27 23-666,1-1 0,75 54 0,-31-26 546,-69-53-431,0-1 1,0 0-1,1 0 1,1-1-1,-1 0 1,1 0-1,0-1 1,11 3-1,-22-8-91,0 0 0,0 0 0,0 0 0,0 0 0,0 0 1,0 0-1,0 0 0,0 0 0,0 0 0,0 0 0,0 0 0,0 0 0,0 0 0,0 0 0,0 0 0,0 0 0,0 0 0,0-1 0,-1 1 0,1 0 0,0 0 0,0 0 1,0 0-1,0 0 0,0 0 0,0 0 0,0 0 0,0 0 0,0 0 0,1-1 0,-1 1 0,0 0 0,0 0 0,0 0 0,0 0 0,0 0 0,0 0 0,0 0 1,0 0-1,0 0 0,0 0 0,0 0 0,0 0 0,0-1 0,0 1 0,0 0 0,0 0 0,0 0 0,0 0 0,0 0 0,0 0 0,0 0 0,0 0 0,0 0 1,0 0-1,-9-9 203,-12-9-96,-27-20-43,-111-79 0,70 54 156,136 115-228,148 109 87,-175-147 29,-20-14-112,0 0-1,0 0 1,0 0-1,1 0 1,-1 0-1,0 0 1,0 0-1,0 0 1,0 0-1,1 0 1,-1 0-1,0 0 1,0 0-1,0 0 1,0 0-1,0 0 1,0 0-1,0 0 1,0 0-1,0 0 1,0 0-1,0 0 1,0 0-1,0-1 1,1 1-1,-1 0 1,0 0-1,0 0 1,0 0-1,0 0 1,0 0-1,0-1 0,0 1 1,0 0-1,0 0 1,0 0-1,0 0 1,0 0-1,0 0 1,0 0-1,0 0 1,0 0-1,0 0 1,0 0-1,0 0 1,0-1-1,0 1 1,0 0-1,0 0 1,0 0-1,0 0 1,0 0-1,0-1 1,0 1-1,0 0 1,0 0-1,0 0 1,0 0-1,0 0 1,-1 0-1,1-1 1,0 1-1,0 0 1,0 0-1,0 0 1,0 0-1,0 0 1,0 0-1,0 0 1,-24-34 334,-15-7-287,-68-54 0,18 17-37,75 65-8,0 0-1,-2 0 1,-27-16 0,59 40-86,-1 0 1,0 2-1,-1 0 1,18 20 0,2 2 47,-13-15 67,-1-2 0,3 0 0,0-1 0,29 16 0,-52-33-32,0 0 0,0 0-1,-1 0 1,1 0 0,0 0 0,0 0 0,0-1 0,0 1-1,0 0 1,0 0 0,0 0 0,0 0 0,0 0 0,0 0-1,0 0 1,0 0 0,0 0 0,0 0 0,0 0 0,0 0-1,0 0 1,0 0 0,0 0 0,0 0 0,0 0 0,0 0-1,0 0 1,0 0 0,0-1 0,0 1 0,0 0 0,0 0-1,0 0 1,0 0 0,0 0 0,0 0 0,0 0 0,1 0-1,-1 0 1,0 0 0,0 0 0,0 0 0,0 0 0,0-1-1,-10-10 62,-14-14-26,-46-36-28,45 37-5,0 1 0,-2 2 0,-1 0 0,-42-23 0,86 55-98,0 0-1,-1 1 1,1 0-1,-2 1 1,17 20-1,-16-16 119,1-1 0,0 0 0,0-2 0,2 0 0,0-1 0,24 13 0,-66-50 37,12 10-66,-43-38-391,0 3 0,-86-55 0,141 103 389,0 0-1,-1 1 0,1-1 0,-1 1 1,1-1-1,-1 1 0,1 0 1,0 0-1,0 0 0,-1-1 1,0 1-1,1-1 0,-1 1 0,1 0 1,0 0-1,-1-1 0,0 1 1,1 0-1,-1 0 0,1 0 1,0 0-1,-1 0 0,0 0 0,1 0 1,-1 0-1,0 0 0,1 0 1,8 14-213,23 18 17,93 75 174,-105-94 130,-24-25 3,-23-26-111,-6 5-860,-48-36-1,17 16 640,61 49 231,3 2 5,-1 1 1,2 0 0,-2-1-1,1 2 1,-1-2 0,1 1-1,0 1 1,-1-1 0,0 0-1,0 0 1,1 1 0,-4-2-1,5 2-7,0 0 1,0 0-1,0 1 0,0-1 0,0 0 0,-1 0 0,1 0 1,0 1-1,0-1 0,0 0 0,0 0 0,0 0 1,-1 0-1,1 0 0,0 1 0,0-1 0,0 0 1,0 1-1,0-1 0,0 0 0,0 0 0,0 1 1,0-1-1,0 0 0,0 0 0,0 0 0,0 0 0,0 1 1,1-1-1,-1 0 0,0 0 0,0 1 0,0-1 1,0 0-1,0 0 0,1 1 0,-1-1 0,0 0 1,0 0-1,0 0 0,0 0 0,0 0 0,0 0 1,0 0-1,1 1 0,9 14 0,-8-14-1,40 51 309,2-1-1,55 45 0,-53-51 109,259 206 1327,-280-229-1608,-22-19-52,-14-13-70,-7-4-187,-32-20 1,35 25 103,1 0 0,1 0 0,0-1 1,-19-21-1,44 41-31,0 0 0,0-1 1,1-1-1,14 7 0,30 18 95,-1 13 28,-39-31-65,1-1 1,31 19-1,-93-76-1870,31 30 1769,1 1 138,-37-35-3,35 32 16,14 14-1,6 4 5,63 54-45,-41-34 75,50 34-1,-61-46-18,-11-6-14,2-1 0,0 1-1,-1-1 1,10 3 0,-45-34-56,14 16 67,-173-120 321,259 182 482,-52-35-739,1-1 0,0-1 1,2 0-1,45 19 0,-67-33-75,-1 0 0,1 1 0,-1-1 0,1 0 0,-1 1 0,1-1 0,-1 0 0,0 0 0,0 0 0,1 1 0,-1-1-1,1 0 1,0 0 0,-1 0 0,0 0 0,0 0 0,1 0 0,-1 0 0,1 0 0,-1 0 0,1 0 0,-1-1 0,0 1 0,1 0 0,-1 0 0,1 0 0,-1-1-1,1 1 1,-1 0 0,0-1 0,-5-10 206,-18-13-62,2 7-86,-44-29 0,3 3-22,56 37-79,7 6 13,17 8 10,31 20 24,-11 2 26,-22-17 19,1-1 0,22 12 0,-39-24-57,0 0-1,0 0 0,0 0 1,0 0-1,0 0 0,0 0 1,0 0-1,0 0 0,0 0 1,0 0-1,0 0 0,0 0 1,0-1-1,1 1 0,-1 0 1,0 0-1,0 0 0,0 0 1,0 0-1,0 0 0,0 0 1,0 0-1,0 0 0,0 0 1,0-1-1,0 1 0,0 0 1,0 0-1,0 0 0,0 0 1,0 0-1,0 0 0,0 0 1,0 0-1,0 0 0,0 0 1,0 0-1,0 0 0,1 0 1,-1 0-1,0 0 0,0 0 0,0 0 1,0 0-1,0 0 0,0 0 1,0 0-1,1 0 0,-1 0 1,0 0-1,0 0 0,0 0 1,0 0-1,0 0 0,0 0 1,0 1-1,-7-13 77,-14-11-10,-4 0-35,-2 2 1,-51-31 0,120 79-35,66 56 1,-138-107 87,-57-35 0,-133-73 248,243 147-250,43 35 0,-49-35-61,1-1 1,-1 0 0,2-2 0,1 0 0,-1-1-1,34 13 1,-81-49-18,-89-51-4,-12-9 0,110 71-26,27 22-28,29 23-30,155 121 279,-232-170-197,40 18-4,0 0 0,0-1-1,0 1 1,-1 0 0,1 0-1,0 0 1,0 0 0,-1 0-1,1 0 1,0-1-1,0 1 1,0 0 0,0 0-1,-1 0 1,1 0 0,0-1-1,-1 1 1,1 0 0,0 0-1,-1 0 1,1 0-1,0 0 1,0 0 0,0 0-1,-1 0 1,1 0 0,0 0-1,-1 0 1,1 1 0,0-1-1,-1 0 1,1 0 0,0 0-1,-1 0 1,1 0-1,0 1 1,0-1 0,0 0-1,3 12-135,16 18-83,-18-27 212,11 13 32,-1-1 0,2 0 0,0-1 1,0 0-1,2-1 0,16 12 0,-66-52 462,-35-35 0,-40-31-471,102 88-192,18 17 12,20 17 24,-7-9 107,-10-6 40,2-1-1,0 0 1,1-1-1,0-1 1,0 0-1,24 10 0,-40-23-31,-4-4 24,-7-5 12,-21-15 1,15 12 2,-1 0 0,1 1 0,-2 1 0,-36-18-1,55 30-12,0 0 1,0 0-1,0 0 0,0 1 0,0-1 0,0 0 0,0 0 0,0 0 0,0 0 0,0 0 0,0 0 0,0 0 0,0 1 0,0-1 0,0 0 0,0 0 0,0 0 0,0 0 0,0 0 0,0 0 0,0 0 0,0 0 0,0 0 0,0 0 0,0 0 0,0 0 0,0 0 0,0 0 0,0 0 0,0 1 0,0-1 0,0 0 0,0 0 0,0 0 0,0 0 0,0 0 0,0 0 1,0 0-1,0 0 0,0 0 0,0 0 0,0 1 0,0-1 0,-1 0 0,1 0 0,0 0 0,0 0 0,0 0 0,0 0 0,0 0 0,0 0 0,-1 0 0,1 0 0,0 0 0,0 0 0,0 0 0,0 0 0,0 0 0,0 0 0,-1 0 0,10 13-132,14 14-88,-9-12 188,-6-7 33,-1 1 0,1-2 0,1 1 0,0 0 0,-1-2 0,14 8 0,-55-53-874,24 32-719,1 4 668</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33 17 2024,'20'21'280,"1"1"0,2-2 0,0-1 0,0-2 0,36 21-1,-59-38-276,0 1-1,0-1 0,0 0 0,0 0 0,1 0 0,-1 1 0,1-1 0,-1 0 0,0 0 1,1 1-1,-1-1 0,0 0 0,0 0 0,1 1 0,-1-1 0,1 0 0,-1 0 0,1 0 1,-1 0-1,0 0 0,1 0 0,-1 0 0,1 0 0,-1 0 0,1 0 0,-1 0 0,0 0 0,0 0 1,1 0-1,-1-1 0,1 1 0,0 0 0,-10-12 152,-20-15 87,-126-91 2750,184 140-2456,43 45-1,16 12-490,-111-99-163,-15-14 124,-56-39 0,40 40 274,77 62 208,4-6-513,-2 0 36,2 0 1,0-3-1,57 35 1,-84-55-11,0 0 0,0 0 0,0-1 0,0 1 0,0 0 1,0 0-1,0 0 0,1 0 0,-1 0 0,0 0 0,0 0 1,0-1-1,0 1 0,0 0 0,0 0 0,0 0 1,0 0-1,0 0 0,0 0 0,0 0 0,0 0 0,0-1 1,0 1-1,0 0 0,0 0 0,0 0 0,0 0 0,0 0 1,0 0-1,0 0 0,0 0 0,0 0 0,1 0 0,-1 0 1,0 0-1,0 0 0,0 0 0,0 0 0,0 0 0,0 0 1,0 0-1,1 0 0,-1 0 0,0 0 0,0 0 0,0 0 1,0 0-1,0 0 0,0 0 0,0 0 0,1 0 1,-1 0-1,0 0 0,0 0 0,0 1 0,0-1 0,0 0 1,-8-11 28,-15-14 13,-7-2 6,-1 3 0,-1 0 0,-53-29 0,114 81 41,30 18-133,-28-21 80,1-1-1,61 34 1,-115-70-17,-1 0 1,3-2-1,-1 1 1,1-3-1,1 0 1,-20-22-1,63 60-16,1 0 0,48 31 0,-53-40 21,-33-22-49,-100-71 118,132 98 121,-1 0-231,35 27 0,-45-40 20,-2 0 1,1-1-1,-1 1 1,2-1 0,-1 0-1,0-1 1,12 4-1,-44-30 15,-24-16 37,-43-45 0,118 110-10,3-2 0,1 0-1,43 25 1,-53-39 10,-34-17-49,-32-18-1,-15-19 27,43 29 27,-34-21-1,60 51 142,11 7-260,-3-9 62,0 0 1,0-1-1,1 0 1,1-2-1,-1 0 1,3 0-1,24 9 1,-78-40-11,17 10 17,-1-1 0,0-2 0,-19-16-1,-6-5 37,107 102-421,-32-45 129,-25-17 179,2 1-1,-1-1 0,-1 1 0,11 11 0,-60-35-59,-43-44 167,60 43 103,62 46-1550,-18-15 883</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42 58 2377,'-25'10'4024,"24"-10"-3980,1 0 1,0 1-1,0 0 1,-1 0-1,1-1 0,0 0 1,-1 1-1,1 0 1,0 0-1,0-1 1,0 1-1,-1 0 0,1 0 1,0-1-1,0 1 1,0-1-1,1 1 0,-1 0 1,0 0-1,0-1 1,0 1-1,1 0 1,-1-1-1,0 1 0,1-1 1,-1 1-1,0 0 1,0-1-1,1 1 0,-1-1 1,1 1-1,-1-1 1,1 1-1,-1 0 1,0-1-1,2 1 0,19 23-42,2 0-1,44 35 0,-56-52-50,-11-14 4,-12-15 37,1 7 30,-2 1 1,0 1-1,0 1 1,-1 0-1,-1 0 1,-23-14-1,79 68 182,-5-11-184,-23-19 11,-10-10-13,-6-5 0,-33-22-28,29 21 16,1 0-1,-1 0 0,1-1 0,-1 0 0,1 0 0,0-2 1,-7-7-1,72 41 332,-1 6-237,-59-37-79,-1-1-1,0 1 1,0 1-1,-1-1 1,1 1-1,-1-1 1,-3-3-1,-88-57 564,113 80-128,6 4-345,48 29 0,-85-67-63,-30-19 10,32 30 46,0-1 1,0 0 0,0-2 0,1 1 0,1-1 0,-9-12 0,48 49-637,-21-20 249</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2 9 2521,'-8'-9'5331,"4"16"-3921,6 19-1559,-1-20 144,10 38-4,1-1 0,27 61 1,-39-103 11,1 0 0,-1 0 0,0-1 0,1 1 0,-1 0 0,0 0-1,0-1 1,1 1 0,0 0 0,-1 0 0,1 0 0,-1-1 0,1 1 0,-1-1 0,1 1 0,0 0 0,-1-1 0,1 0 0,2 1 0,0-13 144,-6-28-62,-3 6-549,-13-41 1,11 45 452,-2 5 123,10 25-110,0 0-1,0 0 1,0 0 0,0 0-1,0 0 1,0 0 0,0 0-1,0 0 1,0 0 0,0-1-1,0 1 1,0 0 0,0 0-1,0 0 1,0 0 0,0 0 0,0 0-1,0 0 1,0 0 0,0 0-1,0 0 1,0 0 0,-1 0-1,1-1 1,0 1 0,0 0-1,0 0 1,0 0 0,0 0-1,0 0 1,0 0 0,0 0-1,0 0 1,-1 0 0,1 0-1,0 0 1,0 0 0,0 0 0,0 0-1,0 0 1,0 0 0,0 0-1,0 0 1,-1 0 0,1 0-1,0 1 1,0-1 0,0 0-1,0 0 1,0 0 0,0 0-1,0 0 1,0 0 0,0 0-1,0 0 1,0 0 0,0 0-1,0 0 1,0 0 0,0 1 0,0-1-1,0 0 1,0 0 0,0 0-1,0 0 1,0 0 0,0 16-12,0 17-30,3 16 65,-1-37 1,2 10 18,-2-18-12,0-10 12,-2-4-26,1 1 1,0 0 0,-1 1 0,0-1 0,-1-1 0,-3-16 0,-9-41 38,13 67-57,0 0 0,0 0 0,0 1 0,0-1 0,0 0 0,0 0 0,0 0 0,0 0 0,0 0 0,0 0-1,0 0 1,0 0 0,0 0 0,0 0 0,0 0 0,0 0 0,0 0 0,0 0 0,0 0 0,0 0 0,-1 0 0,1 0 0,0 0 0,0 0 0,0 0 0,0 0 0,0 0 0,0 0 0,0 0 0,0 0 0,0 0 0,0 0 0,0 0 0,0 0-1,0 0 1,-1 0 0,1 0 0,0 0 0,0 0 0,0 0 0,0 0 0,0 0 0,0 0 0,0 0 0,0 0 0,0 0 0,0 0 0,0 0 0,0 0 0,0-1 0,0 1 0,-4 10-52,0 13-27,4-9 67,2 0 1,4 24-1,-3-23 9,0-14 1,3-7-15,1-8-497,-4 3-360,0-1 363</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35 11146,'0'0'-16,"0"-1"16,0 2 32,1-3-8,-1 1-88,0 1-168,1-9-1968,6-13 1656</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88 658 5593,'-5'-20'3599,"5"18"-3442,-1 0 0,1-1 1,-1 1-1,0 1 0,1-2 0,-1 1 0,0 0 0,0 0 0,-3-4 1,-1 37-125,-9 23 9,8-34 18,7-29-26,0 7-34,6-26 11,3-34 1,-23 123-196,8-5 248,14-156 220,-24 148-527,13-30 231,2-14 20,0 0 1,0 0 0,0 0 0,-1-1 0,1 1 0,-2 0 0,2 0-1,-1 0 1,-1 0 0,1-1 0,-1 0 0,-4 7 0,5-13 8,0-1 1,0 1 0,1-1-1,-1 0 1,0 0-1,1 0 1,0 1 0,1-5-1,7-62-6,-9 95-266,0-15 240,1 0 0,0 0 0,0 0 1,3 16-1,-1-21 34,-2 0 1,1 0 0,-1 0 0,0 1 0,-1 8 0,0-11 11,-6-42 117,15-48-666,-5 60 455,-1 8-94,-5 31-87,-3 33 65,4 22 281,5-86-28,-2 15-87,-1-1 0,0 2 0,1-2 0,1 1 0,-1 0-1,0 0 1,1 0 0,0 0 0,4-7 0,19-22-64,-16 21 163,0 1 0,-1-1 0,9-18 0,-67 79 438,25-26-500,5-7-148,39-25-97,67-60 518,4-1 616,-48 40-621,-25 19-100,-15 10-47,-7 4 47,-101 74-723,90-64 442,0 2-1,0-1 1,2 2 0,-15 20-1,29-36 84,0 0 0,0 0 0,-1 0 0,1 0 0,0 0 0,0 1 0,0-1 0,-1 0 0,1 0-1,0 0 1,0 0 0,0 0 0,0 0 0,0 1 0,-1-1 0,1 0 0,0 0 0,0 0 0,0 0 0,0 1 0,0-1 0,0 0 0,0 0 0,0 0 0,0 0-1,0 0 1,0 0 0,0 0 0,0 0 0,0 1 0,0-1 0,0 0 0,0 0 0,0 0 0,0 1 0,0-1 0,0 0 0,0 0 0,0 0 0,0 1-1,0-1 1,0 0 0,0 0 0,0 0 0,1 0 0,-1 1 0,0-1 0,0 0 0,0 0 0,0 0 0,0 0 0,1 0 0,-1 0 0,0 0 0,0 0-1,1 0 1,11-4-160,16-9 25,33-26 91,138-98 1363,-197 133-941,-12 7-239,-16 10-122,-47 36-769,1 2 1,-103 97-1,157-126 621,18-22 134,0 0-1,0 0 0,0 0 0,0 1 1,0-1-1,0 0 0,0 0 1,0 0-1,-1 0 0,1 0 0,0 0 1,0 0-1,0 0 0,0 1 1,0-1-1,0 0 0,0 0 1,0 0-1,0 0 0,0 0 0,0 0 1,0 0-1,0 0 0,0 0 1,0 0-1,0 0 0,0 0 0,0 0 1,0 0-1,0 0 0,0 1 1,0-1-1,0 0 0,0 0 0,0 0 1,1 0-1,-1 0 0,0 0 1,0 0-1,0 0 0,0 1 0,0-1 1,0 0-1,0 0 0,0 0 1,0 0-1,1 0 0,-1 0 1,0 0-1,0 0 0,0 0 0,0 0 1,0 0-1,0 0 0,0 0 1,0 0-1,0 0 0,0 0 0,0 0 1,0 0-1,0 0 0,0 0 1,16-7-218,303-218 1597,-280 195-1026,-26 22-223,-9 4-32,2 1 1,-2-1 0,1 0 0,0 0 0,-2 0 0,6-6 0,-9 10-85,1 0-1,-1-1 1,0 1 0,0 0 0,0 0 0,0 0 0,0 0 0,0 0 0,0 0 0,0 0 0,0-1 0,0 1 0,0 0 0,0 0-1,0 0 1,0 0 0,0 0 0,0 0 0,0-1 0,0 1 0,0 0 0,0 0 0,0 0 0,0 0 0,0 0 0,0 0 0,0 0-1,0 0 1,0 0 0,0 0 0,0 0 0,0-1 0,0 1 0,0 0 0,0 0 0,0 0 0,0 0 0,0 0 0,0 0 0,0-1-1,0 1 1,0 0 0,0 0 0,0 0 0,0 0 0,0 0 0,0 0 0,-1 0 0,1 0 0,0 0 0,0-1 0,0 1 0,0 0-1,0 0 1,-1 0 0,1 0 0,0 0 0,-11 2 245,-11 5-185,-16 10-444,0 1 0,1 2 0,0 2 0,2 1 0,1 2 0,-53 50 0,85-72-95,5-4 149,13-9 8,24-18 168,68-47 545,-46 35 501,71-64 1,-111 78-227,-22 26-664,0 0 1,0 0 0,0 0 0,0 0 0,0 0 0,0 0 0,1 0 0,-1-1 0,0 1 0,0 0 0,0 0 0,0 0-1,0-1 1,0 1 0,0 0 0,0 0 0,0-1 0,0 1 0,0 0 0,0 0 0,0 0 0,0 0 0,0 0 0,0 0-1,0 0 1,0-1 0,0 1 0,-1 0 0,1 0 0,0 0 0,0-1 0,0 1 0,0 0 0,0 0 0,0 0 0,-1 0-1,1-1 1,0 1 0,0 0 0,0 0 0,-1 0 0,1 0 0,-16 4 239,-19 15-431,-58 37 1,41-21-23,13-12-182,3 3-1,-1 0 1,2 3-1,-40 42 1,75-71 363,0 0 1,0 0-1,0 0 1,0 0-1,1 0 1,-1 0-1,0 0 1,0 0-1,0 0 1,0 0-1,0 0 1,0 1-1,0-1 1,0 0-1,0 0 1,0 0-1,0 0 1,1 0-1,-1 0 1,0 0-1,0 0 1,0 0-1,0 0 1,0 0-1,0 0 1,0 0-1,0 0 1,0 0-1,0 0 1,0 0-1,0 0 1,0 0-1,0 0 1,0 1-1,0-1 1,0 0-1,0 0 1,0 0-1,15-8-223,24-17 146,134-93 573,78-61 951,-234 165-1097,-13 7 7,-12 8 262,-16 9-624,-1 3 0,1 0 1,1 1-1,-40 32 0,35-25-49,-20 12-219,6-2-369,-60 52 0,89-67 70,20-16 13,26-19 164,198-147 904,-96 68 463,-127 93-827,-5 3-23,1 0 0,-1-1 0,0 1-1,0 0 1,0-2 0,0 2 0,-1-1 0,1 0 0,0-1 0,2-4 0,-5 8-91,0 0 1,1 0 0,-1 0-1,0 0 1,0-1-1,0 1 1,0 0 0,0 0-1,0 0 1,0 0 0,0-1-1,0 1 1,0 0 0,0 0-1,0 0 1,0 0-1,0 0 1,0 0 0,0 0-1,0 0 1,0 0 0,0-1-1,0 1 1,0 0 0,0 0-1,0 0 1,-1 0-1,1 0 1,0-1 0,0 1-1,0 0 1,0 0 0,0 0-1,0 0 1,-1 0 0,1-1-1,0 1 1,0 0-1,0 0 1,0 0 0,0 0-1,-1 0 1,1 0 0,0 0-1,0 0 1,0 0 0,0 0-1,0 0 1,0 0-1,0 0 1,0 0 0,0 0-1,-1 0 1,1 0 0,0 0-1,0 0 1,-14 3 221,-14 8-227,-43 30-436,1 1 0,-121 100 0,172-127 369,15-9-642,20-14 434,26-16 129,255-184 1327,-280 194-744,-17 14-435,0 0-1,0 0 1,0 0 0,0 0 0,0 0-1,0 0 1,0 0 0,0 0 0,0 0 0,0 0-1,0-1 1,0 1 0,0 0 0,0 0 0,0 0-1,0 0 1,0 0 0,0 0 0,0-1-1,0 1 1,0 0 0,0 0 0,0 0 0,0 0-1,-1 0 1,1 0 0,0 0 0,0-1 0,0 1-1,0 0 1,0 0 0,0 0 0,0 0-1,-1 0 1,1 0 0,0 0 0,0 0 0,0 0-1,0 0 1,0 0 0,-1 0 0,1 0 0,0 0-1,0 0 1,0 0 0,0 0 0,0 0-1,0 0 1,0 0 0,0 0 0,0 0 0,0 0-1,0 0 1,0 0 0,0 0 0,-1 0 0,1 0-1,0 0 1,0 1 0,0-1 0,0 0-1,0 0 1,0 0 0,0 0 0,-1 0 0,1 0-1,0 1 1,-35 13 318,-9 10-500,1 2 0,2 2 0,1 2 0,1 2 1,-35 37-1,69-62-413,16-10 302,18-13 88,280-202 624,-288 203-351,-9 8 140,-1-2 1,1 1-1,-2-1 0,16-17 0,-64 49 230,-32 31-501,-159 135-1091,269-214 482,49-42 481,-28 24 285,98-95-1,-157 137-68,-1 0 0,0 0-1,0 0 1,0 0 0,0 0 0,0 0 0,0-1 0,0 2 0,-1-2 0,1 1 0,0 0-1,0-1 1,-1 1 0,1-2 0,-2 2-17,1 1 0,-1 0 0,1 0 0,-1-1 0,0 1 0,1 0 0,-1 0 0,0 0 0,1 0 0,-1 0 0,1 0 0,-1 1 0,0-1 0,0 0 0,1 0 0,0 1 0,-1-1 1,0 0-1,1 0 0,-1 0 0,0 1 0,-44 23 56,-195 138-366,340-231-624,105-83 1393,-192 138 320,-25 20-368,-25 17-329,37-23-100,-46 30-12,4-2-41,-63 51 1,167-119-931,14-10 876,-31 22 149,50-42-1,-94 68-30,1 2 12,1-2 1,-2 0-1,1 0 0,0 1 1,0-1-1,-1 0 1,1 0-1,-1 0 1,0 0-1,1 0 0,0-3 1,-27 23 252,-37 31-334,32-28 45,2 2 0,-49 52-1,116-98-423,21-20 335,-35 26 137,-1 0 0,34-33 0,-86 74-109,3-4-317,-38 42-1,16-7-1200,-70 65-1,72-79 1771,123-119-242,4 11 83,95-83 1512,-159 130-694,-14 13-141,-14 12-20,-37 35-654,1 1-1,-56 67 0,91-97 4,-12 17 24,56-54-72,100-146 55,-128 165-1,9-9-100,-13 18-6,-5 11-4,-41 74 60,51-98-356,0 1 0,0 0 0,9-11-1,-9 13 197,0 0-1,-1-1 1,0 1-1,0-1 1,0 0-1,4-17 1,-17 54-278,7-25 473,1 0 0,0-1-1,-1 1 1,0 1 0,1-1 0,0-1-1,0 1 1,0 0 0,0 0 0,1 0 0,0-1-1,0 5 1,1-10 97,2 0 1,-2 0-1,0-1 0,0 1 0,1 0 1,-2-1-1,2 1 0,0-8 1,-1 8-74,2-4-16,35-85 122,-51 124-167,-9 29 478,24-77 116,8-29-535,-7 28-43,-11 21-78,-15 27 7,20-25 80,1-4 10,0 1-1,1 0 1,-1-1-1,-1 0 1,2 0-1,-2 1 1,0-1-1,1 0 1,-1 0-1,1 0 1,-1 0 0,1 0-1,-4 2 1,5-7 3,-1-1 1,1 1 0,0 0 0,1 0 0,-1-1 0,1 1-1,0-5 1,-1 7-6,10-25-10,-5 19-49,-6 17-110,-1-6 161,0 3 18,1 1 0,-1-1 0,-1 1 0,-1-1 0,1 1 0,0-1 0,-1-1 0,-8 13 0,23-48 337,0-11-245,-11 35-176,1-1 1,0 1-1,1 0 1,-1 0-1,1 0 0,3-5 1,-5 12-1389,-3 4 97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8 704,'11'14'129,"0"-1"0,1 0 0,2-1 0,24 20-1,-5-4 86,70 58 948,178 115 0,-276-198-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6-255-1862,264 206 1869,74 55 509,23 19 156,20 18-88,36 31-666,2-2 0,97 69 0,-40-32 546,-90-70-431,0 0 1,0-1-1,1 0 1,1-1-1,0-1 1,0 0-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0-96,-36-28-43,-143-103 0,90 72 156,179 149-228,193 141 87,-229-192 29,-26-17-112,0 0-1,0 0 1,0 0-1,1 0 1,-1 0-1,0 0 1,0 0-1,0 0 1,0 0-1,1 0 1,-1 0-1,0 0 1,0 0-1,0 0 1,0 0-1,0 0 1,1 0-1,-1 0 1,0 0-1,0 0 1,0 0-1,0 0 1,0 0-1,0 0 1,1 0-1,-1 0 1,0 0-1,0 0 1,0 0-1,0 0 1,0 0-1,0-1 0,0 1 1,0 0-1,0 0 1,0 0-1,0 0 1,0 0-1,0-1 1,0 1-1,0 0 1,0 0-1,0 0 1,0 0-1,0 0 1,0-1-1,0 1 1,0 0-1,0 0 1,0 0-1,0 0 1,0 0-1,0-1 1,0 1-1,0 0 1,0 0-1,0 0 1,0 0-1,0 0 1,-1 0-1,1-1 1,0 1-1,0 0 1,0 0-1,0 0 1,0 0-1,0 0 1,0 0-1,-1 0 1,-30-45 334,-20-8-287,-89-71 0,24 22-37,98 85-8,-1 0-1,-1 1 1,-38-22 0,79 52-86,-1 1 1,0 1-1,-1 1 1,22 26 0,4 3 47,-18-20 67,0-3 0,2 1 0,1-2 0,38 21 0,-68-43-32,0 0 0,0 0-1,-1 0 1,1 0 0,0 0 0,0 0 0,0-1 0,0 1-1,0 0 1,0 0 0,0 0 0,0 0 0,0 0 0,0 0-1,0 0 1,0 0 0,0 0 0,0-1 0,0 1 0,0 0-1,0 0 1,0 0 0,0 0 0,0 0 0,0 0 0,0 0-1,0 0 1,0 0 0,0-1 0,0 1 0,0 0 0,0 0-1,0 0 1,0 0 0,0 0 0,0 0 0,0 0 0,1 0-1,-1 0 1,0 0 0,0 0 0,0 0 0,0 0 0,0-1-1,-12-14 62,-20-17-26,-59-47-28,58 48-5,0 1 0,-2 2 0,-2 1 0,-55-30 0,113 71-98,0 0-1,-1 2 1,1 0-1,-2 1 1,21 26-1,-20-21 119,0-1 0,1-1 0,1-1 0,1-2 0,0 0 0,32 17 0,-86-65 37,15 12-66,-55-47-391,-2 2 0,-112-72 0,185 135 389,0 0-1,-1 1 0,1-1 0,-1 1 1,1-1-1,-1 1 0,1-1 1,-1 1-1,1 0 0,-1-1 1,0 1-1,1-1 0,-1 1 0,0 0 1,1 0-1,-1-1 0,0 1 1,1 0-1,-1 0 0,0 0 1,1 0-1,-1 0 0,0 0 0,1 0 1,-1 0-1,0 0 0,0 0 1,12 18-213,29 23 17,124 99 174,-140-123 130,-31-33 3,-29-34-111,-8 7-860,-64-46-1,23 19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3-1,72 61 0,-70-69 109,340 271 1327,-367-300-1608,-29-24-52,-19-17-70,-8-5-187,-43-27 1,47 34 103,0-1 0,2 0 0,0-1 1,-26-26-1,59 52-31,0-2 0,0 1 1,1-1-1,19 8 0,38 25 95,0 16 28,-52-41-65,1-1 1,41 25-1,-121-99-1870,40 39 1769,1 2 138,-48-47-3,46 43 16,18 17-1,8 7 5,82 69-45,-54-44 75,66 44-1,-80-60-18,-13-8-14,1 0 0,0 0-1,0-1 1,12 5 0,-59-46-56,19 22 67,-226-156 321,337 236 482,-66-45-739,0-1 0,1-2 1,1 0-1,61 25 0,-89-43-75,-1 0 0,1 1 0,-1-1 0,1 0 0,-1 1 0,1-1 0,-1 0 0,1 0 0,-1 0 0,1 1 0,-1-1-1,1 0 1,0 0 0,-1 0 0,1 0 0,-1 0 0,1 0 0,-1 0 0,1 0 0,-1 0 0,1 0 0,0-1 0,-1 1 0,1 0 0,-1 0 0,1 0 0,-1-1-1,2 1 1,-2 0 0,1-1 0,-9-14 206,-22-15-62,2 7-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5-94 248,321 191-250,54 45 0,-64-46-61,1-1 1,0 0 0,2-2 0,0-1 0,0 0-1,45 16 1,-107-64-18,-116-65-4,-16-13 0,144 93-26,35 28-28,38 31-30,205 156 279,-306-220-197,53 23-4,0 0 0,0-1-1,0 1 1,-1 0 0,1-1-1,0 1 1,0 0 0,-1 0-1,1 0 1,0-1-1,-1 1 1,1 0 0,0 0-1,-1 0 1,1 0 0,0-1-1,-1 1 1,1 0 0,0 0-1,-1 0 1,1 0-1,-1 0 1,1 0 0,0 0-1,-1 0 1,1 0 0,0 0-1,-1 0 1,1 1 0,0-1-1,-1 0 1,1 0 0,0 0-1,-1 0 1,1 0-1,0 1 1,-1-1 0,1 1-1,4 14-135,21 25-83,-23-37 212,13 18 32,0-1 0,1-1 0,1-1 1,1 0-1,1-1 0,21 16 0,-85-68 462,-46-45 0,-53-42-471,133 116-192,24 21 12,26 23 24,-9-12 107,-12-7 40,1-2-1,1-1 1,0 0-1,1-1 1,1-2-1,29 14 0,-50-29-31,-7-6 24,-8-7 12,-28-17 1,20 13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3 0,18 12 0,-72-70-874,31 43-719,1 4 668</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70 486 2240,'52'-34'7944,"98"-61"-7382,-142 90-545,10-5 77,1 0 1,-1-3 0,-1 1-1,0-1 1,23-24-1,-40 37-89,0 0 0,0 0 0,0 0 0,0 0 0,0 0 0,0 0 0,0 0 0,-1 0 0,1 0-1,0 0 1,0 0 0,0 0 0,0 0 0,0 0 0,0 0 0,0 0 0,0 0 0,0 0-1,0 0 1,0 0 0,0 0 0,-1 0 0,1 0 0,0 0 0,0 0 0,0 0 0,0 0 0,0-1-1,0 1 1,0 0 0,0 0 0,0 0 0,0 0 0,0 0 0,0 0 0,0 0 0,0 0 0,0 0-1,0 0 1,0 0 0,0-1 0,0 1 0,0 0 0,0 0 0,0 0 0,0 0 0,0 0 0,0 0-1,0 0 1,0 0 0,0 0 0,0 0 0,0-1 0,0 1 0,0 0 0,1 0 0,-1 0 0,0 0-1,-11 4 52,-10 7-161,-159 106-962,159-102 838,5-5 131,2 1 0,0 1 0,0 0 0,1 1 0,1 1-1,-15 20 1,26-34 96,1 1-1,0-1 1,0 0-1,0 0 0,0 0 1,0 0-1,-1 0 1,1 0-1,0 0 1,0 0-1,-1 1 0,1-1 1,0 0-1,0 1 1,0-1-1,0 0 1,0 1-1,-1-1 0,1 0 1,0 0-1,0 1 1,0-1-1,0 0 0,0 0 1,0 0-1,0 0 1,0 1-1,0-1 1,0 0-1,0 1 0,0-1 1,0 0-1,0 1 1,1-1-1,-1 0 0,0 0 1,0 0-1,0 0 1,0 1-1,0-1 1,1 0-1,-1 0 0,0 1 1,0-1-1,1 0 1,-1 1-1,15-4 13,19-14 135,69-40 192,102-77 1,-203 133-323,3-2 36,-1-1 0,1 1 1,0-1-1,-2 1 0,1-2 0,0 1 0,0 1 0,-1-2 0,4-7 0,-6 12-45,-1 0-1,0 0 0,0 0 0,0 0 1,0 0-1,0-1 0,0 1 0,0 0 1,0-1-1,0 1 0,0 0 0,0-1 1,0 1-1,0 0 0,0 0 0,0 0 1,0 0-1,0 0 0,0-1 0,0 1 1,0 0-1,0-1 0,0 1 0,0 0 1,0 0-1,0-1 0,0 1 0,0 0 1,-1 0-1,1 0 0,0 0 0,0 0 1,0 0-1,-1 0 0,1-1 0,0 1 1,0 0-1,-1 0 0,1 0 1,0 0-1,0-1 0,0 1 0,0 0 1,0 0-1,-1 0 0,1 0 0,0 0 1,0 0-1,-1 0 0,1 0 0,0 0 1,-1 0-1,1 0 0,0 0 0,0 0 1,0 0-1,0 0 0,0 0 0,-1 1 1,-14 2-26,-15 11-579,-1 2-1,1 1 0,-47 35 0,39-26-401,22-15 536,-10 5 134,2 2 1,0 0-1,1 2 0,-25 27 1,107-85-440,18-15 922,-39 28 368,-1-1 0,-2-1 1,0-3-1,37-40 0,-65 56 177,-15 12-103,-23 13-455,-89 67-2080,23-14 433,80-55 1333,3-1 140,0 0 0,0 1 0,0 1 0,1-1 0,0 2 0,2 0 0,-16 17 0,60-49 166,87-61 1207,-66 47 146,91-76 0,-190 130-369,-91 68-2205,51-30 357,-42 36 57,125-89 2,10-5 441,15-9 108,80-62 179,-20 14 354,-73 52-322,3-1 123,-1-2 1,0 1-1,0-1 1,-1-1 0,14-15-1,-40 32 588,-13 12-843,-53 32-274,61-39 19,0-1 0,1 2 0,0 1 0,-23 21-1,42-35 297,0 0-1,0 0 1,0 0-1,0 0 0,1 0 1,-1 0-1,0 0 0,0 0 1,0 0-1,0 0 1,0 0-1,0 0 0,0 0 1,0 0-1,0 1 1,0-1-1,0 0 0,0 0 1,0 0-1,0 0 1,0 0-1,1 0 0,-1 0 1,0 0-1,0 0 1,0 1-1,0-1 0,0 0 1,0 0-1,0 0 1,0 0-1,0 0 0,0 0 1,0 0-1,0 0 1,-1 1-1,1-1 0,0 0 1,15-8-377,19-12-143,211-140 2021,-141 92-104,-232 161-1687,88-62-559,-69 42-1,94-63 883,15-10-32,0 0 0,0 0 1,0 0-1,0 0 0,0 0 0,0 0 1,0 0-1,0 0 0,0 0 1,0 0-1,0 0 0,0 0 1,0 0-1,0 0 0,0 0 0,0 0 1,0 0-1,0 0 0,0 0 1,0 0-1,0 0 0,0 0 1,26-13-188,125-99 194,-65 45 126,-76 59-92,26-18 197,-1-1-1,-1-2 0,34-38 1,-68 67-222,0 0-1,-1 0 1,1 0 0,0 0 0,0 0-1,0 0 1,0 0 0,0 0 0,-1 0 0,1 0-1,0 0 1,0 0 0,0 0 0,0 0-1,0 0 1,0 0 0,-1 0 0,1-1 0,0 1-1,0 0 1,0 0 0,0 0 0,0 0 0,0 0-1,0 0 1,0-1 0,0 1 0,0 0-1,0 0 1,0 0 0,0 0 0,0-1 0,0 1-1,0 0 1,0 0 0,0 0 0,0 0-1,0 0 1,0 0 0,0 0 0,0 0 0,0 0-1,0 0 1,0 0 0,0-1 0,0 1-1,0 0 1,0 0 0,0 0 0,0 0 0,1 0-1,-1 0 1,0 0 0,0-1 0,0 1-1,0 0 1,0 0 0,0 0 0,1 0 0,-1 0-1,0 0 1,0 0 0,0 0 0,0 0-1,0 0 1,1 0 0,-1 0 0,-14 5 192,-19 11-264,-86 72-96,13-9-116,47-36-109,87-68 219,-1 0 1,41-25-1,8-8 160,-22 16 14,21-17 164,-71 54 109,-7 4-114,-14 10-72,-26 16-155,-139 111-9,92-66 67,27-16-417,187-151 48,-53 40 446,100-62 0,-146 99 284,-22 14 86,-16 11-58,-11 8-391,1 3-1,1 0 1,0 1 0,-28 30-1,10-10 0,-13 7 1,31-28 5,1 1 0,2 1 0,-1 1 0,-22 29 1,85-82-390,241-175 248,-193 153 502,-162 113-355,-71 74-1,-1 1 64,53-59 37,223-177-554,68-47 458,-178 137 6,33-24 298,-470 374 371,386-314-618,10-6-64,34-35-126,221-193-62,-97 88 378,-128 111 31,-21 15-56,-24 17-114,-101 95-167,68-54 179,-105 71-1,243-192-349,153-142 286,-166 138 177,-192 190-385,50-49 227,20-22 88,57-48-104,8-5-75,12-9-71,99-111-84,27-10 438,-392 384-326,155-154 263,114-118-212,36-27-1,21-18 34,-26 18 107,-43 42 29,-9 10-44,-10 11-32,-249 234-286,246-237 257,12-13-5,0 2 1,-1 0-1,1 0 1,0 0 0,0 1-1,0-1 1,-4 9-1,41-37-140,101-84-2,162-120 533,-506 379 193,33-22-572,175-128-12,-7 5 4,0 0 1,0 1-1,1-1 0,-11 13 1,20-18-84,8-3 38,8-7-4,224-150-84,-24 14 617,-589 423-298,359-268-247,-7 6-191,-31 35 0,96-84-872,25-23 943,90-55-1,-88 63 201,22-10 1104,-249 183-964,-70 59-146,175-138-100,149-114-318,-39 23 330,231-170 206,-685 513 145,317-239-266,61-46-47,16-11-1,5-5-5,29-16-82,122-95 0,-96 67 326,96-55 0,-227 147-219,-123 105 0,120-90-6,65-53 14,5-4-6,0-1 1,1 1 0,-1 0 0,1 0-1,0 1 1,-5 5 0,23-12-131,4-8 81,-1 0 0,-1-1 0,20-17 0,13-8-12,108-79 129,-77 55 283,-203 135-121,40-18-902,37-25 361,-47 38 0,140-95 169,244-186 976,-288 210-854,22-20 423,-24 18-56,-16 12-205,-43 28-522,-95 81 0,110-83 343,31-24 36,13-8-101,23-16-62,251-188 32,-135 95 312,-124 92-10,-11 7 44,-13 10-9,-38 22-208,3 2 1,-61 49 0,-7 5 15,103-75-6,0-2 0,1 1-1,-1 0 0,1 1 1,0 0-1,0-1 0,1 2 1,-5 7-1,54-43-399,224-150 369,-231 155 138,-24 17 105,-1 0-1,20-17 0,-31 24-192,0 0 1,0 0-1,0 0 0,0 0 0,0 0 1,0 0-1,0 0 0,0 0 0,0 0 0,-1 0 1,1 0-1,0 0 0,0 0 0,0 0 1,0 0-1,0 0 0,0 0 0,0 0 0,0 0 1,0 0-1,0 0 0,0 0 0,0 0 1,0 0-1,0 0 0,0 0 0,0 0 0,0 0 1,0 0-1,0 0 0,0 0 0,0 0 1,0 0-1,0-1 0,0 1 0,0 0 0,0 0 1,0 0-1,0 0 0,0 0 0,0 0 1,-1 0-1,1 0 0,0 0 0,0 0 1,0-1-1,-14 6 182,-17 10-224,-97 68-346,6-5 0,105-67 237,26-12-161,27-16 11,168-118 127,-121 75 204,-46 32 112,-25 19 115,-25 18 136,-11 7-461,-1-1 0,-32 15-1,32-18-360,0 2-1,-37 25 0,37-22-273,-47 26-1,61-37 506,269-174-418,-219 135 1748,-89 61-31,-27 18-1233,-2 1-800,-72 56 0,297-204 374,-82 61 635,-42 27 131,0-2 1,-1 0 0,-1-1 0,21-19 0,-30 19 522,-11 16-729,0-1 0,0 1 0,-1 0-1,1 0 1,0 0 0,0 0 0,-1 0-1,1 0 1,0 0 0,-1 0 0,1 0 0,0 0-1,0 0 1,0 0 0,0 0 0,-1-1-1,1 1 1,0 0 0,0 0 0,-1 0 0,1 0-1,0 1 1,-1-1 0,1 0 0,0 0-1,-1 0 1,1 0 0,0 0 0,0 0 0,0 0-1,0 0 1,0 0 0,-1 0 0,1 0-1,-1 1 1,-31 15 295,-182 129-1239,81-55 272,126-84 526,22-16 9,26-19 3,81-57 29,33-26 265,-148 107-19,0-2 0,1 1-1,-2-1 1,1-1 0,7-9 0,-14 17-147,0 0 0,0 0 0,0 0 0,0 0 0,0 0 0,0 0 0,0 0 0,0 0 0,-1 0 0,1 0 0,0 0 0,0 0 0,0 0 0,0 0 0,0 0 0,0 0 0,0 0 0,0 0 0,0 0 0,-1 0 0,1 0 0,0 0 0,0 0 0,0 0 0,0 0-1,0 0 1,0 0 0,0 0 0,0 0 0,-1 0 0,1 0 0,0 0 0,0 0 0,0 0 0,0 0 0,0 0 0,0 0 0,0 0 0,0 0 0,0 0 0,0 0 0,0 0 0,0 0 0,0-1 0,0 1 0,0 0 0,0 0 0,0 0 0,0 0 0,0 0 0,0 0 0,0 0 0,0 0 0,0 0 0,0-1 0,0 1 0,0 0 0,0 0 0,0 0 0,0 0-1,0 0 1,0 0 0,0 0 0,-13 5 233,-11 8-252,-373 254-2065,397-267 2067,0 0 1,0 0-1,0 0 0,0 0 1,0 0-1,0 0 0,0 0 1,0 0-1,0 0 0,1 0 1,-1 0-1,0 0 0,0 0 1,0 0-1,0 0 0,0 0 1,0 0-1,0 0 0,0 1 1,0-1-1,20-10-66,27-20 12,222-159 1290,-260 182-1095,0 2 147,-1-1 1,1-1-1,7-7 0,-40 25 494,-138 110-755,74-57-15,-34 23-14,305-219-763,-74 50 775,-51 37 8,-31 24 189,-21 17 80,-7 6 173,-52 46-401,12-12-43,3 1 0,1 2 0,-57 76-1,94-114-10,0-1-1,0 0 0,0 0 0,-1 0 0,1 0 0,0 0 0,-1 1 1,1-1-1,0 0 0,-1 1 0,1-1 0,0 1 0,0-1 0,-1 0 1,1 0-1,0 0 0,0 1 0,0-1 0,0 1 0,0-1 1,0 1-1,0-1 0,0 0 0,0 1 0,0-1 0,0 0 0,0 0 1,0 1-1,0-1 0,0 1 0,0-1 0,0 1 0,0-1 1,0 0-1,0 0 0,1 1 0,13-6-24,20-18 12,214-191 177,-235 200-47,-20 15 25,-24 19-86,-107 93-96,87-70 68,-7-2 45,85-64-177,-1-1 0,34-40 0,35-32 205,-171 190-163,8 4 446,124-160 56,-16 15-433,-29 35 16,-1 1-1,0-1 1,0-1-1,-2 1 1,0-2 0,-1 1-1,12-27 1,-19 39-26,0 0 0,1 1 0,-1-1 0,0 0 0,1 0 0,-1 0 0,0 1 1,0-2-1,0 1 0,1 1 0,-1-1 0,-1 0 0,1 0 0,0 1 0,0-2 0,0 1 0,0 1 0,-1-1 0,1 0 0,-1-1 0,1 2-5,0 0 0,-1 0 0,0 0 0,1 0 0,-1 0-1,1 0 1,0 0 0,-1 0 0,0 0 0,1 0 0,-1 0-1,0 0 1,1 0 0,0 0 0,-1 0 0,1 0 0,-1 0-1,1 0 1,-1 1 0,1-1 0,0 0 0,-1 1-1,0 0 1,-26 24-257,-80 119 83,85-113 212,14-19 9,14-22-69,8-14-39,8-20-48,-12 26 99,0 0-1,-2-1 1,0-1-1,5-19 1,-14 33-304,-6 16 114,-6 15 3,-7 21 719,-2-2 1,-31 46-1,87-159 51,-26 54-840,0 0 1,-1-1-1,-1 0 0,-1 0 0,1 0 0,4-34 0,-75 198-1293,62-137 1707,2-7-7,1 0 1,-2 0-1,1 0 1,0 0 0,-1 0-1,0 0 1,0-1-1,-3 5 1,4-8-115,1-1-1,0 1 1,-1 0 0,1-1-1,-1 1 1,1-1-1,-1 0 1,1 1 0,-1-1-1,1 1 1,0-1 0,0 1-1,0-1 1,-1 0 0,1 1-1,0-1 1,0 1 0,0-1-1,0 0 1,-1 1-1,1-1 1,0 0 0,0 1-1,1-1 1,-1 1 0,0-1-1,0 0 1,1-1 0,-1-21 29,0 23-47,0-10-117,0-1 1,0 0 0,2 1 0,0 0-1,0-1 1,1 1 0,0-1 0,1 1-1,0 0 1,8-14 0,-52 144-339,33-100 517,6-14 44,-1 0 0,1 0-1,-2 0 1,1-1 0,0 1 0,-1 0 0,0-1 0,0-1 0,-1 2 0,0-2-1,-5 6 1,23-45 325,5-5-618,32-51-1,-47 80-554,1 0-1,-1 0 0,4-17 0,-18 49 432,4-9 309,1-1-1,0 1 1,1 0 0,1 0 0,-1 1-1,2 0 1,-3 17 0,6-23 46</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525 430 3289,'22'-102'6400,"-23"115"-6149,0-1 1,0 0 0,1 1 0,3 23 0,-1-26-233,-1 0 0,0 1 0,-1 0 1,0-1-1,-1 1 0,0 0 0,-1-1 1,-4 17-1,6-27-11,0-1 0,0 1 0,0 0 0,0 0 0,0 0 0,0-1 0,0 1 0,0 0 0,0 0 0,0 0 0,-1-1 0,1 1 0,0 0 0,0 0 0,0 0 0,0 0 0,0 0 0,0-1-1,0 1 1,0 0 0,0 0 0,0 0 0,-1 0 0,1 0 0,0 0 0,0 0 0,-1 0 0,1 0 0,0 0 0,0 0 0,0 0 0,-1 0 0,1 0 0,0 0 0,0 0 0,0 0 0,0 0 0,0 0 0,0 0 0,0 0 0,-1 0 0,1 0 0,0 0 0,0 0 0,0 0 0,0 1 0,-1-1 0,1 0 0,0 0 0,0 0 0,0 0 0,0 0-1,-1 1 1,1-1 0,0 0 0,0 0 0,0 0 0,0 1 0,-3-17 120,9-150 9,-15 247-537,8-61 392,2-6 38,-1 0 0,-1-1 0,0 1 0,-1-1 0,-8 26 0,10-39-28,0 1 0,0-1 0,0 0 1,0 0-1,0 0 0,0 0 0,0 0 0,0 0 1,0 0-1,0 0 0,0 0 0,0 0 1,0 0-1,0 0 0,0 1 0,0-1 0,0 0 1,0 0-1,0 0 0,0 0 0,0 0 0,0 0 1,0 1-1,0-1 0,0 0 0,0 0 0,0 0 1,0 0-1,0 0 0,0 0 0,-1 0 0,1 0 1,0 0-1,0 0 0,0 0 0,0 1 1,0-1-1,0 0 0,-1 0 0,1 0 0,0 0 1,0 0-1,0 0 0,0 0 0,0 0 0,-1 0 1,1 0-1,0 0 0,0 0 0,0 0 0,0-1 1,0 1-1,0 0 0,0 0 0,0 0 0,0 0 1,0 0-1,0 0 0,0 0 0,0 0 1,-1 0-1,-2-11 40,0-12-32,5-90-67,-1 86-13,-1 72-437,0-21 514,-1-1-1,-6 37 0,36-252 244,-29 208-395,1 1 0,0-1 0,9 32 1,-2 0 107,-8-47 31,7 31 56,1-25 58,-8-8-100,1 1 1,-1-1 0,1 1-1,0-1 1,-1 1-1,1 0 1,0-1 0,-1 1-1,1-1 1,-1 0 0,0 1-1,1 0 1,-1-1 0,1 0-1,-1 0 1,1 1-1,-1-1 1,0-1 0,15-33 70,-3 0 0,0-1 0,10-62 0,-14 57-50,-1 25-100,-5 32-24,-2 27-8,-11 47 59,6-60 197,-1 50 0,6-96-133,-1-25 72,2 2 0,11-66 1,-10 95-99,0 5-5,-2 0 0,2 0-1,-1 0 1,0 0-1,-1 0 1,0 0-1,0 0 1,-1-8-1,-10 28-277,-66 202 120,68-197 244,6-29-65,8-38-45,4 5-26,2 0 0,22-52-1,-52 122-294,12-7 318,0 1 0,1-1-1,2 1 1,0 1 0,2-1 0,-1 31-1,1-24 134,7-71 275,-2 18-361,0-1 0,-2 2 0,-1-33-1,-4 47-242,-2 17 29,-1 15 8,7-22 193,-6 62-200,6-57 189,0 0-1,1-1 0,-1 1 1,1 0-1,0 0 0,0-1 0,1 0 1,4 11-1,-6-16 15,1 1-1,-1-1 1,0 1 0,0 0 0,1-1-1,-1 0 1,1 0 0,0 1 0,-1-1-1,0 1 1,1-1 0,-1 0 0,1 1 0,0-1-1,-1 0 1,1 0 0,-1 1 0,1-1-1,0 0 1,0 0 0,-1 0 0,0 0-1,1 0 1,0 0 0,0 0 0,-1 0-1,0 0 1,1-1 0,0 1 0,0 0 0,-1 0-1,0-1 1,1 1 0,0 0 0,-1-1-1,1 1 1,-1-1 0,0 1 0,1 0-1,0 0 1,-1-1 0,1 0 0,-1 1 0,1-1-1,-1 0 1,22-24 60,-11 5 90,1 0 0,-2-1-1,-1 0 1,-1-1-1,8-27 1,9-26 258,-21 56-364,-4 17-44,-4 11-30,-4 21-18,1 0-1,-5 55 1,8-50 56,-9 22 175,43-253-148,-24 170-26,-4 17-5,1 0 0,-1 1 1,0-2-1,-2 2 0,1-16 1,-1 25-6,0-1 0,0 0-1,0 0 1,0 0 0,0 0 0,0 0 0,0 0 0,0 0 0,0 0 0,0 1 0,0-1 0,0 0-1,0 0 1,0 0 0,0 0 0,0 0 0,0 0 0,0 0 0,0 0 0,0 0 0,-1 0-1,1 0 1,0 0 0,0 1 0,0-1 0,0 0 0,0 0 0,0 0 0,0 0 0,0 0-1,0 0 1,0 0 0,0 0 0,0 0 0,0 0 0,0 0 0,0 0 0,0 0 0,0 0 0,0 0-1,0 0 1,-1 0 0,1 0 0,0 0 0,0 0 0,0 0 0,0 0 0,0 0 0,0 0-1,0-1 1,0 1 0,0 0 0,-1 0 0,-4 14-77,-6 20-30,-27 134 84,36-161 222,2-9-69,3-21-17,10-36-59,-7 40-36,-2 0-1,1 0 1,-2 0-1,2-40 0,-18 95-291,6 6 226,-3 72-1,7-94 153,2-16 13,2-14-27,2-13-70,0 0 0,-3 0-1,0-1 1,0 1-1,-3 0 1,-4-24-1,10 166-574,-2-111 559,5 31 7,-6-36 0,0-1-1,1 0 0,-1 1 0,1-1 0,0-1 1,0 2-1,0-1 0,0 0 0,0 0 1,0-1-1,1 2 0,-1-2 0,3 3 0,-3-4-4,-1 0 1,1 0-1,-1 0 0,0 0 0,0-1 0,1 1 0,-1 0 0,1 0 0,-1-1 0,0 1 0,1 0 0,-1 0 0,0 0 0,0 0 0,0-1 0,1 1 0,-1-1 1,0 1-1,1-1 0,-1 1 0,0 0 0,0 0 0,0 0 0,1-1 0,-1 1 0,0-1 0,0 1 0,0-1 0,0 1 0,0 0 0,0-2 0,3-14 46,-3 16-48,26-190 115,-32 287-321,9 137 0,-1-229 399,-1-10-64,5-27-7,2-43-58,10-126-137,-20 290-713,-11 126 956,9-194 87,4-21-255,0 0 1,0 0 0,0 0-1,0 0 1,0 0 0,0 0-1,0 0 1,0 0 0,0 0-1,0 0 1,0 0 0,0 0-1,0 0 1,0-1 0,0 1-1,0 0 1,0 0 0,0 0-1,0 0 1,0 0 0,0 0-1,0 0 1,-1 0 0,1-1-1,0 1 1,0 0 0,0 0 0,0 0-1,0 0 1,0 0 0,0 0-1,0 0 1,0 0 0,0 0-1,-1 0 1,1 0 0,0-1-1,0 1 1,0 0 0,0 0-1,0 0 1,0 0 0,0 0-1,0 0 1,-1 0 0,1 0-1,0 0 1,0 0 0,0 0-1,0 0 1,0 0 0,0 0-1,0 0 1,0 0 0,0 0 0,0 1-1,-3-40 323,3 27-344,-1-10 50,1 7-150,0 0-1,-2-1 1,1 1-1,-2 1 1,0-2-1,-10-26 1,13 42 109,0 0 0,0-1 0,0 1 0,0 0 0,0 0 0,0 0 0,0 0 0,0 0 0,0 0 0,0 0 0,0 0 0,0 0 0,0-1 0,0 1 1,0 0-1,0 0 0,0 0 0,0 0 0,-1 0 0,1 0 0,0-1 0,0 1 0,0 0 0,-1 0 0,1 0 0,0 0 0,0 0 0,0 0 0,0 0 0,-1 0 0,1 0 0,0 0 1,0 0-1,0 0 0,0 0 0,0 0 0,0 0 0,0 0 0,0 0 0,-1 0 0,1 0 0,0 0 0,0 0 0,0 0 0,-1 1 0,1-1 0,0 0 0,0 0 0,0 0 0,-1 0 1,-4 11-199,-3 12 53,2 6 48,-3 46 0,0 4 229,31-145 276,-19 49-387,-1 0 0,-1 0 0,0 0-1,-3-25 1,-5 74-348,1-11 289,-15 132 607,25-202-408,-3 21-145,2 0-1,0 0 1,2 0-1,13-43 1,-18 71-13,0-1 0,0 1 0,0 0-1,0 0 1,0 0 0,0 0 0,0 0 0,0-1 0,0 1-1,0 0 1,0-1 0,0 1 0,0 0 0,0 0 0,0-1-1,0 1 1,0 0 0,0 0 0,0 0 0,0 0 0,1 0 0,-1-1-1,0 1 1,0 0 0,0 0 0,1 0 0,-1-1 0,0 1-1,0 0 1,1 0 0,-1 0 0,0 0 0,0-1 0,0 1-1,0 0 1,0 0 0,1 0 0,-1 0 0,0 0 0,1 0-1,-1 0 1,0 0 0,0 0 0,1 0 0,-1 0 0,0 0 0,0 0-1,0 0 1,0 0 0,1 0 0,4 16-119,-1 33 76,-4-43 42,4 25 3,-2-20 48,-1-1 0,0 1 0,-1 14 0,5-68 72,-3-46 1,-10 140-645,-1-3 498,5 12 145,5-55 158,5-33-154,3-50-27,4-10-174,-11 126-312,-6 2 327,2-17 136,-1 0 1,3 0-1,3 40 1,1-106 312,0 14-337,-2 3-42,2-18-87,0-2 0,3 2 0,17-60 0,-27 120-180,0 0-1,2 31 1,-3 14 409,-3-12 85,4-29 54,2-18-1,2-5 132,40-185-568,-21 108-981,-17 67 583,-3 18 57,-6 23 113,-2 2 274,-7 61 0,11-63 181,-1 0 0,-14 49 0,19-76-54,0-1-1,0 1 1,-1 0-1,1-1 0,0 1 1,0 0-1,0 0 1,-1-1-1,1 0 1,0 1-1,0 0 0,0 0 1,-1-1-1,1 0 1,-1 1-1,0-1 1,1 1-1,0 0 1,0-1-1,-1 1 0,0-1 1,0 0-1,1 1 1,-3-16 213,5-39-139,-1 49-81,1-37-262,12-53 1,-11 81 129,0 1 0,1 0 0,0 0 0,2 0 0,-1 1 0,1 0 0,0-1 0,9-10 0,-19 33 85,0 1 0,1 0 1,-3 16-1,-2 2 218,0 3 36,-37 112 650,61-224-75,28-58-2185,-4 49-3674,-37 83 4472,-8 12 559,-7 19 266,-62 224 5499,125-467-8462,-48 203 1766,0 0-1,12-30 0,-40 135 3687,8-47-2264,13-27 47,-2-1-1,0 0 1,-1-1 0,-12 18 0,11-25 133,8-18-398,11-25-218,-10 32 8,12-31-24,3 1-1,0 1 0,39-61 1,-61 126-12,2-8 47,-5 8 424,-1-1-1,0 0 0,-3 0 1,-22 40-1,50-119 35,6-15-449,-15 44-134,0 0 1,1-1-1,12-19 0,-9 17-179,-16 38-36,-5 18 226,-21 58 62,27-82 41,0-1 0,0 0-1,0 0 1,-1 0-1,0-1 1,-1 0-1,-9 9 1,15-16-26,1 0 0,-1 0 0,1-1 0,-1 0 0,1 1 0,-1-1 0,1 1 0,0 0 0,-1-1 0,0 1 0,1-1 0,-1 0 0,1 0 0,-1 0 0,0 1 0,1-1 0,-1 0 0,1 1 0,-1-1 0,0 0 0,0 0 0,1 0 0,0 0 0,-1 0 0,0 0 1,0 0-1,0 0 0,1 0 0,-1 0 0,0-1 0,1 1 0,-2-1 0,1 1-6,0-2 0,1 0 0,0 2 1,-1-2-1,0 1 0,1-1 0,-1 1 1,1 0-1,0-1 0,0 1 0,0-1 1,0 1-1,0 0 0,0-3 0,6-51-250,-6 51 222,7-28-218,12-32 0,-38 156-275,-6 22 770,26-105 109,4-17-159,7-16-70,-5 4-76,5-36-1,-10 41-49,1 1 0,1-1 0,0 1 0,12-26 1,-22 57-93,0 1 0,3 0-1,-1 0 1,-1 20 0,0 1 56,-12 64 605,61-327-391,-47 271-865,3-29 717,0 0 1,-1 0 0,-2 0 0,0 0 0,-1-1-1,-8 25 1,12-42-27,0 0-1,0 0 0,0 0 1,0 0-1,0 0 1,0 0-1,0 0 1,0 0-1,0 0 1,0 0-1,0 0 0,0 0 1,0 0-1,0 0 1,0 0-1,0 0 1,0 0-1,-1 0 0,1 0 1,0 0-1,0 0 1,0 0-1,0-1 1,0 1-1,0 0 0,0 0 1,0 0-1,0 0 1,0 0-1,0 0 1,0 0-1,-1 0 0,1 0 1,0 0-1,0 0 1,0 0-1,0 0 1,0 0-1,0 0 1,0 0-1,0 0 0,0 0 1,0 0-1,0 0 1,-1 0-1,1 0 1,0 0-1,0 0 0,0 0 1,0 0-1,0 0 1,0 1-1,0-1 1,0 0-1,0 0 0,0 0 1,0 0-1,-1-12 83,0-14-69,6-2 1,-2 6-113,-9 40-41,-4 18 141,-3 0 1,0-2 0,-3 1-1,-1-2 1,-27 41-1,30-54 24,-36 50-655,44-63 319,-1 0 0,1 0 0,-1-1 0,-1 0 0,1 0 0,-1-1 1,-10 6-1,-3 4-638,-5 2-3,25-16 981,0-1-1,0 0 0,0 0 1,-1 0-1,2 0 0,-2 0 0,1 0 1,0 0-1,0 0 0,0 0 1,0 0-1,0 0 0,-1-1 1,2 1-1,-2-1 0,1 0 1,1 1-1,-2-1 0,1 1 1,0-1-1,1 0 0,-1 1 0,0-1 1,0 1-1,-1-3 0,-4-3 316,2 2-201,0 0 0,1 0 0,-2 0 0,1 1 0,-1-1 0,-9-4 0,12 7-148,1 1 1,-1-1-1,1 1 1,-1 0-1,1 0 1,-1 0-1,1 0 0,0 0 1,-1 0-1,1 0 1,-1 0-1,1 0 0,-1 0 1,1 1-1,-1-1 1,1 1-1,-1 0 0,1-1 1,0 1-1,-1 0 1,2 0-1,-2-1 0,1 1 1,0 0-1,-1 0 1,1 0-1,1 1 0,-1-1 1,-1 0-1,2 0 1,-1 0-1,-1 3 0,-28 49-51,24-41 62,-1 0 0,1-1 1,-1 0-1,-1 0 0,-17 18 0,23-28-7,1 2 1,-1-2-1,1 1 1,-2-1-1,2 1 1,-1-2-1,0 2 1,0-1-1,-1 0 1,1 0-1,0 0 1,0 0-1,0-1 1,-4 2-1,4-3-4,2 1 1,-2-1-1,1 1 1,0 0-1,-1-1 0,1 0 1,0 0-1,-1 1 1,2-1-1,-2 0 1,1 0-1,1 0 0,-2 1 1,1-2-1,0 1 1,1 0-1,-1 0 0,0 0 1,0 0-1,1-1 1,0 1-1,-1 0 0,0-1 1,1 2-1,-1-4 1,-3-11-6,0 1 1,1-2-1,0 2 1,1-1 0,0-18-1,-6-36 162,5 60-62,-3 17-125,0 17-107,5-1 92,0 0 0,5 44 0,-2-45 345,-1 0 0,0 0 1,-5 33-1,4-52-291,-4 16 368,0-18-145,0-13-102,-16-95 39,16 77-152,3 7-24,1 19 3,1 0-1,-1 0 1,0 0 0,0 0 0,0 0-1,-1 0 1,0 0 0,1-1 0,-1 1-1,0 0 1,0 0 0,-1 0 0,-1-3-1,3 6-2,0 0 0,-1 1 0,0-1-1,1 0 1,-1 1 0,1-1-1,0 0 1,-1 0 0,1 1-1,-1-1 1,1 1 0,-1 0-1,1-1 1,0 0 0,0 1-1,0-1 1,0 1 0,-1 0 0,1-1-1,0 1 1,0-1 0,0 1-1,-1-1 1,1 1 0,0 0-1,0-1 1,0 0 0,1 3-1,-7 25-78,5-23 65,-1 9 4,2 0 0,-1 0-1,3 21 1,-1 30 42,-2-60-11,0 1-1,1-2 1,-1 2 0,-1-1 0,1 0-1,-1-1 1,0 1 0,0 0 0,-5 8-1,7-13-11,0 0-1,0 1 1,0-1-1,-1 0 1,1 0-1,0 1 0,0-1 1,0 0-1,0 0 1,0 0-1,0 0 1,0 0-1,-1 0 0,1 0 1,0 0-1,0 0 1,0 0-1,0 1 1,-1-1-1,1 0 0,0 0 1,0 0-1,0 0 1,0 0-1,0 0 0,0 0 1,0 0-1,0 0 1,-1 0-1,1 0 1,0 0-1,0 0 0,0 0 1,-1 0-1,1 0 1,0 0-1,0 0 1,-1 0-1,1 0 0,0 0 1,0 0-1,0 0 1,0 0-1,0 0 1,0-1-1,-3-9 49,1-17-20,2 25-25,2-189 26,-3 180-52,-2 17-27,0 18-34,6 49 55,0-52 43,-2-1 0,-1 1 0,0 0 0,-2-1 0,0 1 0,-8 31-1,12-66 36,0 0 0,0-27-1,0-10-37,19-69-65,-13 199-211,-9-52 269,-2 0-1,0 0 1,-2-1-1,-11 36 0,4-26 29,6-17 28,11-51-33,14-36-24,-14 54-6,0-1 1,-1 0-1,-1-1 1,2-16-1,-7 61-32,-9 41 0,-9 19 80,23-99-38,9-32 28,-11 39-48,-1 0 0,1 0 0,-1 0 0,1-1-1,-1 1 1,0 0 0,0 0 0,0 0 0,-1 0 0,0 0 0,0-4 0,0 9-8,0-1 0,0 1 0,-1-1 1,2 1-1,-1 0 0,0 0 0,0-1 0,1 2 0,-1-2 0,1 1 0,0 3 0,-6 49-46,4-32 65,2-17 0,0-6-1,3-12 10,-2 10-4,0 0-1,-1 0 1,0 0-1,1 1 0,-1-1 1,1 0-1,-1 0 1,0 0-1,-1-1 1,0-3-1,-13 40-21,13-30 12,1-2 2,-1 0 0,1 1 0,0-2 1,0 2-1,0-1 0,0 0 0,0 1 1,0-2-1,0 2 0,0-1 1,0 0-1,0 1 0,0-1 0,1 0 1,-1 0-1,1 0 0,0 0 0,-1 1 1,0-2-1,1 1 0,0 1 1,0-1-1,-1-1 0,2 3 0,8-32 2,-8 22 1,0 5 1,-1-1-1,0 1 1,0-1 0,0 0 0,-1 0 0,1 0 0,-1 0-1,1 0 1,-1 0 0,0 1 0,0-1 0,0-3-1,-1 6 0,0 0 0,1 0 0,0 0 0,-1 0-1,0 0 1,1 0 0,-1 0 0,1 0-1,0 1 1,-1-1 0,0 0 0,1 1 0,-1-1-1,1 1 1,-1-1 0,1 0 0,0 0-1,0 1 1,-1-1 0,1 1 0,-1-1-1,1 1 1,-1-1 0,1 0 0,0 1 0,0 0-1,0-1 1,0 1 0,0 0 0,0-1-1,0 0 1,0 1 0,-1 0 0,-8 21-10,6-14 6,-5 24-44,24-43-5,71-98 232,-77 96-56,-15 20 29,-18 23-47,17-21-97,0 0 0,-1-1 0,-8 9 0,8-11-10,1 2 0,-1-1-1,2 0 1,-6 11 0,10-11-65,8-9 13,10-8 9,4-11 45,0 0 1,-2-1-1,-1 0 1,0-2 0,25-45-1,-58 89 63,0-1 0,-1 0 0,0-1 0,-30 23 0,56-52-133,0-1-1,-2 1 1,0-1-1,12-24 1,-1 3 36,0 3 9,14-24 108,-35 51 67,-5 6-96,-10 10-33,-28 27-64,-45 54 0,148-155-302,-30 27 331,-16 21 30,-1 0 1,-1 0-1,0 0 0,13-28 0,-23 34 184,-9 10-102,-9 9-44,-11 13-80,1 0 0,1 1-1,-45 58 1,71-81-295,4-6 105,10-8 15,15-19 121,-12 12 109,-3-1-1,0-1 0,0 1 0,-2-2 0,-1 0 0,15-42 0,-23 48 182,-11 22-92,-12 21-89,-1 22-28,16-35 13,0-1 1,-12 20-1,8-19 2,15-24-54,12-24-5,-15 28 42,1 1 0,-1-1 0,1 1 0,0 0 0,0 0 0,5-4 0,-6 5-4,-13 45-127,6-24 130,4-13 4,-1 2-1,0-2 1,0 0 0,0 1 0,-1 0 0,1-2 0,-8 10-1,13-23-7,0 0 0,-1 0 0,0-1-1,0 1 1,-1-18 0,2-3-18,19-93-76,-24 141-18,0 0 0,2 34 0,1-10 73,-1-24 42,0 3 45,-2-1-1,-5 37 1,14-78 12,1 0 1,14-28 0,1-2-41,-21 48-34,-1 6 6,-3 13 4,-6 22 18,4-23 0,2-7-2,0 0 1,-1-1 0,0 1 0,0-1 0,0 0-1,-6 7 1,49-80-103,-28 53 98,-14 22-109,-17 27-154,18-36 257,-4 9-31,2-6 25,1 1-1,0 0 1,-1 0-1,2 0 0,-1 0 1,1 0-1,-1 0 1,1 0-1,0 1 1,-1 5-1,25-35-93,12-28-2497,-30 46 182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2 0,1-1 0,46 26-1,-77-49-276,0 1-1,1-1 0,-1 0 0,0 1 0,1-1 0,-1 1 0,1-1 0,-1 0 0,0 0 1,1 1-1,-1-1 0,1 0 0,-1 0 0,1 1 0,-1-1 0,1 0 0,-1 0 0,1 0 1,0 0-1,-1 0 0,1 0 0,-1 0 0,1 0 0,-1 0 0,1 0 0,-1 0 0,1 0 0,-1 0 1,1 0-1,-1-1 0,1 1 0,0 0 0,-13-16 152,-26-19 87,-165-118 2750,241 182-2456,56 57-1,22 18-490,-146-130-163,-20-19 124,-73-49 0,52 50 274,101 82 208,5-8-513,-2 1 36,2-3 1,1-1-1,74 44 1,-110-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10-3 6,-1 3 0,-1 2 0,-69-40 0,149 107 41,39 22-133,-36-26 80,1-2-1,80 45 1,-151-91-17,0-1 1,2-2-1,0 0 1,0-2-1,2-1 1,-26-28-1,82 77-16,2 0 0,64 42 0,-71-53 21,-44-29-49,-130-93 118,173 129 121,-2-1-231,47 36 0,-59-52 20,-3-1 1,1 0-1,-1 0 1,2-1 0,-1 0-1,0-1 1,16 5-1,-57-39 15,-32-21 37,-58-57 0,157 141-10,2-2 0,3 0-1,56 34 1,-70-52 10,-44-22-49,-43-24-1,-19-25 27,57 39 27,-46-27-1,80 64 142,14 11-260,-5-12 62,1 0 1,0-1-1,3-1 1,-1-1-1,0-1 1,2-1-1,33 13 1,-102-52-11,22 13 17,-2-2 0,0-2 0,-25-21-1,-7-7 37,141 133-421,-44-58 129,-31-22 179,1 0-1,-1 0 0,0 1 0,13 14 0,-78-45-59,-57-59 167,80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1 1,1 1-1,-1-1 1,1 1-1,0 0 1,-1-1-1,2 1 0,26 31-42,2-1-1,57 46 0,-72-68-50,-15-18 4,-16-20 37,1 10 30,-1 1 1,-1 1-1,-1 1 1,0 0-1,-1 1 1,-31-18-1,103 87 182,-6-14-184,-29-24 11,-15-14-13,-7-5 0,-42-30-28,37 28 16,0 0-1,0-1 0,1-1 0,-1 1 0,2-1 0,-1-1 1,-9-10-1,94 53 332,-1 7-237,-78-47-79,0-1-1,-1 1 1,0 0-1,0 0 1,0 1-1,-1-1 1,-4-4-1,-115-73 564,148 102-128,8 6-345,62 38 0,-110-88-63,-40-23 10,41 38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2 0,35 82 1,-51-136 11,1 0 0,-1 0 0,0 0 0,1 0 0,-1 0 0,1 0-1,-1 0 1,1 0 0,0 0 0,-1 0 0,1 0 0,0 0 0,0 0 0,-1-1 0,1 1 0,0 0 0,0 0 0,0-1 0,2 1 0,1-17 144,-7-36-62,-5 7-549,-17-51 1,14 56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19 65,-2-48 1,3 14 18,-2-24-12,-1-13 12,-1-4-26,0 0 1,0 0 0,-1 1 0,0-1 0,-1 0 0,-5-21 0,-10-55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29-1,-4-28 9,0-19 1,3-9-15,3-10-497,-6 4-360,-1-1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56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1 0,0-14 11,-8-54 117,19-64-666,-6 79 455,-1 10-94,-7 41-87,-4 43 65,5 28 281,7-112-28,-3 20-87,-1-1 0,1 1 0,0-1 0,1 1 0,0 0-1,-1-1 1,2 1 0,-1 0 0,6-9 0,25-30-64,-21 29 163,-1 0 0,0 0 0,11-23 0,-87 101 438,32-34-500,7-7-148,50-35-97,89-76 518,5-2 616,-62 52-621,-34 24-100,-20 14-47,-8 5 47,-133 97-723,117-84 442,1 2-1,1 0 1,1 1 0,-19 27-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5-32 91,179-129 1363,-257 174-941,-16 9-239,-21 13-122,-62 47-769,2 3 1,-135 125-1,205-163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8-284 1597,-367 254-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1 65 0,112-93-95,7-5 149,17-12 8,32-24 168,89-59 545,-62 43 501,95-82 1,-147 102-227,-28 33-664,0 0 1,0 0 0,0 0 0,0-1 0,0 1 0,0 0 0,1 0 0,-1-1 0,0 1 0,0 0 0,0 0 0,0 0-1,0-1 1,0 1 0,0 0 0,0 0 0,0-1 0,0 1 0,0 0 0,0 0 0,0 0 0,0-1 0,0 1 0,0 0-1,0 0 1,0-1 0,0 1 0,-1 0 0,1 0 0,0 0 0,0-1 0,0 1 0,0 0 0,0 0 0,0 0 0,-1 0-1,1-1 1,0 1 0,0 0 0,0 0 0,-1 0 0,1 0 0,-21 5 239,-25 19-431,-75 49 1,52-28-23,19-14-182,2 2-1,-1 2 1,4 3-1,-53 53 1,98-91 363,0 0 1,0 0-1,0 0 1,0 0-1,1 0 1,-1 0-1,0 0 1,0 0-1,0 0 1,0 0-1,0 0 1,0 1-1,0-1 1,0 0-1,0 0 1,0 0-1,0 0 1,1 0-1,-1 0 1,0 0-1,0 0 1,0 0-1,0 0 1,0 1-1,0-1 1,0 0-1,0 0 1,0 0-1,0 0 1,0 0-1,0 0 1,0 0-1,0 0 1,0 1-1,0-1 1,0 0-1,0 0 1,0 0-1,20-11-223,31-21 146,175-122 573,104-78 951,-308 213-1097,-17 10 7,-15 10 262,-22 13-624,0 2 0,-1 1 1,3 2-1,-52 41 0,45-33-49,-25 16-219,6-3-369,-78 69 0,117-89 70,26-20 13,35-24 164,259-192 904,-126 88 463,-167 121-827,-6 4-23,1 1 0,-1-2 0,0 1-1,0 0 1,0-1 0,0 1 0,-1-1 0,1 0 0,-1-1 0,4-5 0,-7 10-91,0 0 1,1 0 0,-1 0-1,0 0 1,0-1-1,0 1 1,0 0 0,0 0-1,0 0 1,0 0 0,0-1-1,0 1 1,0 0 0,0 0-1,0 0 1,0 0-1,0-1 1,0 1 0,0 0-1,0 0 1,0 0 0,0-1-1,0 1 1,0 0 0,0 0-1,0 0 1,-1 0-1,1 0 1,0-1 0,0 1-1,0 0 1,0 0 0,0 0-1,0 0 1,-1 0 0,1-1-1,0 1 1,0 0-1,0 0 1,0 0 0,0 0-1,-1 0 1,1 0 0,0 0-1,0 0 1,0 0 0,0 0-1,-1 0 1,1 0-1,0 0 1,0 0 0,0 0-1,-1 0 1,1 0 0,0 0-1,0 0 1,-18 4 221,-19 9-227,-57 40-436,3 3 0,-158 128 0,224-164 369,19-13-642,27-17 434,34-22 129,334-238 1327,-367 253-744,-22 17-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7 318,-11 13-500,0 3 0,3 3 0,2 2 0,1 2 1,-46 48-1,91-79-413,20-14 302,24-17 88,366-262 624,-376 264-351,-13 9 140,0-1 1,0 0-1,-1-1 0,20-22 0,-84 65 230,-41 39-501,-209 175-1091,352-277 482,64-55 481,-36 30 285,129-122-1,-207 178-68,-1 0 0,1-1-1,-1 1 1,0 0 0,1-1 0,-1 1 0,0-1 0,0 1 0,0-1 0,0 1 0,0-1-1,0 0 1,-1 1 0,2-4 0,-3 4-17,0 1 0,0 0 0,1 0 0,-1-1 0,0 1 0,0 0 0,0 0 0,0 0 0,1 0 0,-1 0 0,0 0 0,0 1 0,0-1 0,0 0 0,1 0 0,-1 1 0,0-1 1,0 0-1,1 1 0,-1-1 0,-1 1 0,-57 30 56,-255 180-366,446-302-624,135-106 1393,-250 179 320,-32 25-368,-33 23-329,48-29-100,-60 38-12,4-3-41,-81 67 1,218-154-931,19-15 876,-41 29 149,65-53-1,-123 88-30,2 1 12,0-1 1,-1-1-1,0 1 0,1 0 1,-1 0-1,0-1 1,0 1-1,0-1 1,-1 0-1,1 0 0,1-3 1,-36 30 252,-48 38-334,43-34 45,1 2 0,-64 68-1,152-128-423,27-26 335,-45 34 137,-2-1 0,46-41 0,-114 95-109,4-5-317,-49 54-1,20-7-1200,-91 82-1,94-101 1771,162-156-242,4 14 83,124-107 1512,-208 169-694,-17 18-141,-19 14-20,-49 46-654,2 2-1,-73 85 0,118-124 4,-15 22 24,74-71-72,129-190 55,-166 214-1,11-10-100,-16 22-6,-8 15-4,-52 97 60,65-128-356,1 0 0,0 1 0,11-14-1,-11 17 197,0-1-1,-1 0 1,0 0-1,-1-1 1,0 0-1,6-20 1,-22 67-278,9-31 473,0 0 0,1-1-1,-1 1 1,0 0 0,1 0 0,0-1-1,0 1 1,0 0 0,0 0 0,1 0 0,0-1-1,1 5 1,1-11 97,1-1 1,-1 0-1,0-1 0,0 1 0,0 0 1,-1-1-1,1 0 0,2-9 1,-3 10-74,3-5-16,47-110 122,-68 161-167,-12 36 478,32-98 116,12-38-535,-11 35-43,-15 29-78,-19 34 7,26-32 80,2-5 10,0 1-1,0-1 1,0 0-1,-1 0 1,1 0-1,-1 0 1,0 0-1,0 0 1,0-1-1,0 1 1,0-1 0,0 1-1,-4 1 1,6-7 3,-1-2 1,1 1 0,0 0 0,1 0 0,-1-1 0,1 1-1,1-6 1,-2 9-6,13-33-10,-7 24-49,-8 23-110,0-8 161,0 5 18,0 0 0,-1 0 0,-1 0 0,0-1 0,0 1 0,-1-2 0,0 1 0,-10 15 0,29-61 337,0-15-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7</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9</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0</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1</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5</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6</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2</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5</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9</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4</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0</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2</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3</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4</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5</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2</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6</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dirty="0"/>
          </a:p>
        </p:txBody>
      </p:sp>
    </p:spTree>
    <p:extLst>
      <p:ext uri="{BB962C8B-B14F-4D97-AF65-F5344CB8AC3E}">
        <p14:creationId xmlns:p14="http://schemas.microsoft.com/office/powerpoint/2010/main" val="135774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2</a:t>
            </a:fld>
            <a:endParaRPr lang="en-US" dirty="0"/>
          </a:p>
        </p:txBody>
      </p:sp>
    </p:spTree>
    <p:extLst>
      <p:ext uri="{BB962C8B-B14F-4D97-AF65-F5344CB8AC3E}">
        <p14:creationId xmlns:p14="http://schemas.microsoft.com/office/powerpoint/2010/main" val="4219832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52.png"/><Relationship Id="rId4" Type="http://schemas.openxmlformats.org/officeDocument/2006/relationships/image" Target="../media/image6.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107.xml"/><Relationship Id="rId4" Type="http://schemas.openxmlformats.org/officeDocument/2006/relationships/image" Target="../media/image105.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108.xml"/><Relationship Id="rId4" Type="http://schemas.openxmlformats.org/officeDocument/2006/relationships/image" Target="../media/image106.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09.xml"/><Relationship Id="rId4" Type="http://schemas.openxmlformats.org/officeDocument/2006/relationships/image" Target="../media/image107.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107.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10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82.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109.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82.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110.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111.emf"/></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oleObject" Target="../embeddings/oleObject17.bin"/><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6.emf"/><Relationship Id="rId9" Type="http://schemas.openxmlformats.org/officeDocument/2006/relationships/image" Target="../media/image57.png"/></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112.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113.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114.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115.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116.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117.emf"/></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18.emf"/><Relationship Id="rId4" Type="http://schemas.openxmlformats.org/officeDocument/2006/relationships/oleObject" Target="../embeddings/oleObject122.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5" Type="http://schemas.openxmlformats.org/officeDocument/2006/relationships/chart" Target="../charts/chart40.xml"/><Relationship Id="rId4" Type="http://schemas.openxmlformats.org/officeDocument/2006/relationships/image" Target="../media/image8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63.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oleObject" Target="../embeddings/oleObject21.bin"/><Relationship Id="rId7" Type="http://schemas.openxmlformats.org/officeDocument/2006/relationships/image" Target="../media/image68.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67.png"/><Relationship Id="rId5" Type="http://schemas.openxmlformats.org/officeDocument/2006/relationships/image" Target="../media/image66.png"/><Relationship Id="rId10" Type="http://schemas.openxmlformats.org/officeDocument/2006/relationships/image" Target="../media/image70.png"/><Relationship Id="rId4" Type="http://schemas.openxmlformats.org/officeDocument/2006/relationships/image" Target="../media/image6.emf"/><Relationship Id="rId9"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oleObject" Target="../embeddings/oleObject22.bin"/><Relationship Id="rId7" Type="http://schemas.openxmlformats.org/officeDocument/2006/relationships/image" Target="../media/image73.png"/><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oleObject" Target="../embeddings/oleObject26.bin"/><Relationship Id="rId7" Type="http://schemas.openxmlformats.org/officeDocument/2006/relationships/image" Target="../media/image77.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6.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80.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62.png"/><Relationship Id="rId5" Type="http://schemas.openxmlformats.org/officeDocument/2006/relationships/image" Target="../media/image79.png"/><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8" Type="http://schemas.openxmlformats.org/officeDocument/2006/relationships/image" Target="../media/image81.jpg"/><Relationship Id="rId3" Type="http://schemas.openxmlformats.org/officeDocument/2006/relationships/oleObject" Target="../embeddings/oleObject29.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6.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82.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83.emf"/><Relationship Id="rId4" Type="http://schemas.openxmlformats.org/officeDocument/2006/relationships/oleObject" Target="../embeddings/oleObject33.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82.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6.xml"/><Relationship Id="rId5" Type="http://schemas.openxmlformats.org/officeDocument/2006/relationships/image" Target="../media/image5.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7.xml"/><Relationship Id="rId5" Type="http://schemas.openxmlformats.org/officeDocument/2006/relationships/image" Target="../media/image5.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39.xml"/><Relationship Id="rId4" Type="http://schemas.openxmlformats.org/officeDocument/2006/relationships/image" Target="../media/image6.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chart" Target="../charts/chart1.xml"/><Relationship Id="rId5" Type="http://schemas.openxmlformats.org/officeDocument/2006/relationships/image" Target="../media/image84.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chart" Target="../charts/chart2.xml"/><Relationship Id="rId5" Type="http://schemas.openxmlformats.org/officeDocument/2006/relationships/image" Target="../media/image84.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chart" Target="../charts/chart3.xml"/><Relationship Id="rId5" Type="http://schemas.openxmlformats.org/officeDocument/2006/relationships/image" Target="../media/image84.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chart" Target="../charts/chart4.xml"/><Relationship Id="rId5" Type="http://schemas.openxmlformats.org/officeDocument/2006/relationships/image" Target="../media/image84.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5.xml"/><Relationship Id="rId5" Type="http://schemas.openxmlformats.org/officeDocument/2006/relationships/image" Target="../media/image84.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image" Target="../media/image5.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6.xml"/><Relationship Id="rId5" Type="http://schemas.openxmlformats.org/officeDocument/2006/relationships/image" Target="../media/image84.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84.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chart" Target="../charts/chart8.xml"/><Relationship Id="rId5" Type="http://schemas.openxmlformats.org/officeDocument/2006/relationships/image" Target="../media/image84.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5.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chart" Target="../charts/chart9.xml"/><Relationship Id="rId5" Type="http://schemas.openxmlformats.org/officeDocument/2006/relationships/image" Target="../media/image84.emf"/><Relationship Id="rId4" Type="http://schemas.openxmlformats.org/officeDocument/2006/relationships/oleObject" Target="../embeddings/oleObject49.bin"/><Relationship Id="rId9" Type="http://schemas.openxmlformats.org/officeDocument/2006/relationships/chart" Target="../charts/chart1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1.xml"/><Relationship Id="rId6" Type="http://schemas.microsoft.com/office/2014/relationships/chartEx" Target="../charts/chartEx1.xml"/><Relationship Id="rId5" Type="http://schemas.openxmlformats.org/officeDocument/2006/relationships/image" Target="../media/image84.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chart" Target="../charts/chart13.xml"/><Relationship Id="rId4" Type="http://schemas.openxmlformats.org/officeDocument/2006/relationships/image" Target="../media/image82.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53.xml"/><Relationship Id="rId5" Type="http://schemas.openxmlformats.org/officeDocument/2006/relationships/image" Target="../media/image5.emf"/><Relationship Id="rId4" Type="http://schemas.openxmlformats.org/officeDocument/2006/relationships/oleObject" Target="../embeddings/oleObject52.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chart" Target="../charts/chart14.xml"/><Relationship Id="rId4" Type="http://schemas.openxmlformats.org/officeDocument/2006/relationships/image" Target="../media/image82.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chart" Target="../charts/chart15.xml"/><Relationship Id="rId4" Type="http://schemas.openxmlformats.org/officeDocument/2006/relationships/image" Target="../media/image8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chart" Target="../charts/chart16.xml"/><Relationship Id="rId4" Type="http://schemas.openxmlformats.org/officeDocument/2006/relationships/image" Target="../media/image82.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chart" Target="../charts/chart17.xml"/><Relationship Id="rId4" Type="http://schemas.openxmlformats.org/officeDocument/2006/relationships/image" Target="../media/image8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82.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9.xml"/><Relationship Id="rId5" Type="http://schemas.openxmlformats.org/officeDocument/2006/relationships/image" Target="../media/image5.emf"/><Relationship Id="rId4" Type="http://schemas.openxmlformats.org/officeDocument/2006/relationships/oleObject" Target="../embeddings/oleObject58.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8.xml"/><Relationship Id="rId4" Type="http://schemas.openxmlformats.org/officeDocument/2006/relationships/image" Target="../media/image82.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5" Type="http://schemas.openxmlformats.org/officeDocument/2006/relationships/chart" Target="../charts/chart19.xml"/><Relationship Id="rId4" Type="http://schemas.openxmlformats.org/officeDocument/2006/relationships/image" Target="../media/image82.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61.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chart" Target="../charts/chart20.xml"/><Relationship Id="rId4" Type="http://schemas.openxmlformats.org/officeDocument/2006/relationships/image" Target="../media/image82.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82.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82.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6.xml"/><Relationship Id="rId5" Type="http://schemas.openxmlformats.org/officeDocument/2006/relationships/image" Target="../media/image5.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1.jpeg"/><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chart" Target="../charts/chart21.xml"/><Relationship Id="rId4" Type="http://schemas.openxmlformats.org/officeDocument/2006/relationships/image" Target="../media/image82.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chart" Target="../charts/chart22.xml"/><Relationship Id="rId4" Type="http://schemas.openxmlformats.org/officeDocument/2006/relationships/image" Target="../media/image82.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69.xml"/><Relationship Id="rId5" Type="http://schemas.openxmlformats.org/officeDocument/2006/relationships/chart" Target="../charts/chart23.xml"/><Relationship Id="rId4" Type="http://schemas.openxmlformats.org/officeDocument/2006/relationships/image" Target="../media/image82.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chart" Target="../charts/chart24.xml"/><Relationship Id="rId4" Type="http://schemas.openxmlformats.org/officeDocument/2006/relationships/image" Target="../media/image82.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71.xml"/><Relationship Id="rId5" Type="http://schemas.openxmlformats.org/officeDocument/2006/relationships/image" Target="../media/image5.emf"/><Relationship Id="rId4" Type="http://schemas.openxmlformats.org/officeDocument/2006/relationships/oleObject" Target="../embeddings/oleObject70.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82.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8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82.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82.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8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hyperlink" Target="https://github.com/wolfgang-stefani/Vehicle-Localization" TargetMode="Externa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77.xml"/><Relationship Id="rId5" Type="http://schemas.openxmlformats.org/officeDocument/2006/relationships/image" Target="../media/image5.emf"/><Relationship Id="rId4" Type="http://schemas.openxmlformats.org/officeDocument/2006/relationships/oleObject" Target="../embeddings/oleObject76.bin"/></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82.emf"/></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79.xml"/><Relationship Id="rId5" Type="http://schemas.openxmlformats.org/officeDocument/2006/relationships/image" Target="../media/image5.emf"/><Relationship Id="rId4" Type="http://schemas.openxmlformats.org/officeDocument/2006/relationships/oleObject" Target="../embeddings/oleObject7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chart" Target="../charts/chart25.xml"/><Relationship Id="rId5" Type="http://schemas.openxmlformats.org/officeDocument/2006/relationships/image" Target="../media/image85.emf"/><Relationship Id="rId4" Type="http://schemas.openxmlformats.org/officeDocument/2006/relationships/oleObject" Target="../embeddings/oleObject7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86.emf"/><Relationship Id="rId4" Type="http://schemas.openxmlformats.org/officeDocument/2006/relationships/oleObject" Target="../embeddings/oleObject80.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86.emf"/><Relationship Id="rId4" Type="http://schemas.openxmlformats.org/officeDocument/2006/relationships/oleObject" Target="../embeddings/oleObject8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87.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88.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89.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90.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26" Type="http://schemas.openxmlformats.org/officeDocument/2006/relationships/customXml" Target="../ink/ink6.xml"/><Relationship Id="rId21" Type="http://schemas.openxmlformats.org/officeDocument/2006/relationships/image" Target="../media/image210.png"/><Relationship Id="rId42" Type="http://schemas.openxmlformats.org/officeDocument/2006/relationships/customXml" Target="../ink/ink14.xml"/><Relationship Id="rId47" Type="http://schemas.openxmlformats.org/officeDocument/2006/relationships/image" Target="../media/image34.png"/><Relationship Id="rId63" Type="http://schemas.openxmlformats.org/officeDocument/2006/relationships/image" Target="../media/image42.png"/><Relationship Id="rId68" Type="http://schemas.openxmlformats.org/officeDocument/2006/relationships/customXml" Target="../ink/ink27.xml"/><Relationship Id="rId2" Type="http://schemas.openxmlformats.org/officeDocument/2006/relationships/slideLayout" Target="../slideLayouts/slideLayout3.xml"/><Relationship Id="rId16" Type="http://schemas.openxmlformats.org/officeDocument/2006/relationships/customXml" Target="../ink/ink1.xml"/><Relationship Id="rId29" Type="http://schemas.openxmlformats.org/officeDocument/2006/relationships/image" Target="../media/image25.png"/><Relationship Id="rId11" Type="http://schemas.openxmlformats.org/officeDocument/2006/relationships/image" Target="../media/image18.png"/><Relationship Id="rId24" Type="http://schemas.openxmlformats.org/officeDocument/2006/relationships/customXml" Target="../ink/ink5.xml"/><Relationship Id="rId32" Type="http://schemas.openxmlformats.org/officeDocument/2006/relationships/customXml" Target="../ink/ink9.xml"/><Relationship Id="rId37" Type="http://schemas.openxmlformats.org/officeDocument/2006/relationships/image" Target="../media/image29.png"/><Relationship Id="rId40" Type="http://schemas.openxmlformats.org/officeDocument/2006/relationships/customXml" Target="../ink/ink13.xml"/><Relationship Id="rId45" Type="http://schemas.openxmlformats.org/officeDocument/2006/relationships/image" Target="../media/image33.png"/><Relationship Id="rId53" Type="http://schemas.openxmlformats.org/officeDocument/2006/relationships/image" Target="../media/image37.png"/><Relationship Id="rId58" Type="http://schemas.openxmlformats.org/officeDocument/2006/relationships/customXml" Target="../ink/ink22.xml"/><Relationship Id="rId66" Type="http://schemas.openxmlformats.org/officeDocument/2006/relationships/customXml" Target="../ink/ink26.xml"/><Relationship Id="rId74" Type="http://schemas.openxmlformats.org/officeDocument/2006/relationships/customXml" Target="../ink/ink30.xml"/><Relationship Id="rId5" Type="http://schemas.openxmlformats.org/officeDocument/2006/relationships/image" Target="../media/image10.jpeg"/><Relationship Id="rId61" Type="http://schemas.openxmlformats.org/officeDocument/2006/relationships/image" Target="../media/image41.png"/><Relationship Id="rId19" Type="http://schemas.openxmlformats.org/officeDocument/2006/relationships/image" Target="../media/image200.png"/><Relationship Id="rId14" Type="http://schemas.openxmlformats.org/officeDocument/2006/relationships/image" Target="../media/image20.png"/><Relationship Id="rId22" Type="http://schemas.openxmlformats.org/officeDocument/2006/relationships/customXml" Target="../ink/ink4.xml"/><Relationship Id="rId27" Type="http://schemas.openxmlformats.org/officeDocument/2006/relationships/image" Target="../media/image24.png"/><Relationship Id="rId30" Type="http://schemas.openxmlformats.org/officeDocument/2006/relationships/customXml" Target="../ink/ink8.xml"/><Relationship Id="rId35" Type="http://schemas.openxmlformats.org/officeDocument/2006/relationships/image" Target="../media/image28.png"/><Relationship Id="rId43" Type="http://schemas.openxmlformats.org/officeDocument/2006/relationships/image" Target="../media/image32.png"/><Relationship Id="rId48" Type="http://schemas.openxmlformats.org/officeDocument/2006/relationships/customXml" Target="../ink/ink17.xml"/><Relationship Id="rId56" Type="http://schemas.openxmlformats.org/officeDocument/2006/relationships/customXml" Target="../ink/ink21.xml"/><Relationship Id="rId64" Type="http://schemas.openxmlformats.org/officeDocument/2006/relationships/customXml" Target="../ink/ink25.xml"/><Relationship Id="rId69" Type="http://schemas.openxmlformats.org/officeDocument/2006/relationships/image" Target="../media/image45.png"/><Relationship Id="rId8" Type="http://schemas.openxmlformats.org/officeDocument/2006/relationships/image" Target="../media/image16.png"/><Relationship Id="rId51" Type="http://schemas.openxmlformats.org/officeDocument/2006/relationships/image" Target="../media/image36.png"/><Relationship Id="rId72" Type="http://schemas.openxmlformats.org/officeDocument/2006/relationships/customXml" Target="../ink/ink29.xml"/><Relationship Id="rId3" Type="http://schemas.openxmlformats.org/officeDocument/2006/relationships/oleObject" Target="../embeddings/oleObject14.bin"/><Relationship Id="rId12" Type="http://schemas.openxmlformats.org/officeDocument/2006/relationships/image" Target="../media/image19.jpg"/><Relationship Id="rId17" Type="http://schemas.openxmlformats.org/officeDocument/2006/relationships/image" Target="../media/image190.png"/><Relationship Id="rId25" Type="http://schemas.openxmlformats.org/officeDocument/2006/relationships/image" Target="../media/image23.png"/><Relationship Id="rId33" Type="http://schemas.openxmlformats.org/officeDocument/2006/relationships/image" Target="../media/image27.png"/><Relationship Id="rId38" Type="http://schemas.openxmlformats.org/officeDocument/2006/relationships/customXml" Target="../ink/ink12.xml"/><Relationship Id="rId46" Type="http://schemas.openxmlformats.org/officeDocument/2006/relationships/customXml" Target="../ink/ink16.xml"/><Relationship Id="rId59" Type="http://schemas.openxmlformats.org/officeDocument/2006/relationships/image" Target="../media/image40.png"/><Relationship Id="rId67" Type="http://schemas.openxmlformats.org/officeDocument/2006/relationships/image" Target="../media/image44.png"/><Relationship Id="rId20" Type="http://schemas.openxmlformats.org/officeDocument/2006/relationships/customXml" Target="../ink/ink3.xml"/><Relationship Id="rId41" Type="http://schemas.openxmlformats.org/officeDocument/2006/relationships/image" Target="../media/image31.png"/><Relationship Id="rId54" Type="http://schemas.openxmlformats.org/officeDocument/2006/relationships/customXml" Target="../ink/ink20.xml"/><Relationship Id="rId62" Type="http://schemas.openxmlformats.org/officeDocument/2006/relationships/customXml" Target="../ink/ink24.xml"/><Relationship Id="rId70" Type="http://schemas.openxmlformats.org/officeDocument/2006/relationships/customXml" Target="../ink/ink28.xml"/><Relationship Id="rId75" Type="http://schemas.openxmlformats.org/officeDocument/2006/relationships/image" Target="../media/image48.png"/><Relationship Id="rId1" Type="http://schemas.openxmlformats.org/officeDocument/2006/relationships/tags" Target="../tags/tag15.xml"/><Relationship Id="rId6" Type="http://schemas.openxmlformats.org/officeDocument/2006/relationships/image" Target="../media/image14.png"/><Relationship Id="rId15" Type="http://schemas.openxmlformats.org/officeDocument/2006/relationships/image" Target="../media/image21.png"/><Relationship Id="rId23" Type="http://schemas.openxmlformats.org/officeDocument/2006/relationships/image" Target="../media/image22.png"/><Relationship Id="rId28" Type="http://schemas.openxmlformats.org/officeDocument/2006/relationships/customXml" Target="../ink/ink7.xml"/><Relationship Id="rId36" Type="http://schemas.openxmlformats.org/officeDocument/2006/relationships/customXml" Target="../ink/ink11.xml"/><Relationship Id="rId49" Type="http://schemas.openxmlformats.org/officeDocument/2006/relationships/image" Target="../media/image35.png"/><Relationship Id="rId57" Type="http://schemas.openxmlformats.org/officeDocument/2006/relationships/image" Target="../media/image39.png"/><Relationship Id="rId10" Type="http://schemas.openxmlformats.org/officeDocument/2006/relationships/image" Target="../media/image17.png"/><Relationship Id="rId31" Type="http://schemas.openxmlformats.org/officeDocument/2006/relationships/image" Target="../media/image26.png"/><Relationship Id="rId44" Type="http://schemas.openxmlformats.org/officeDocument/2006/relationships/customXml" Target="../ink/ink15.xml"/><Relationship Id="rId52" Type="http://schemas.openxmlformats.org/officeDocument/2006/relationships/customXml" Target="../ink/ink19.xml"/><Relationship Id="rId60" Type="http://schemas.openxmlformats.org/officeDocument/2006/relationships/customXml" Target="../ink/ink23.xml"/><Relationship Id="rId65" Type="http://schemas.openxmlformats.org/officeDocument/2006/relationships/image" Target="../media/image43.png"/><Relationship Id="rId73" Type="http://schemas.openxmlformats.org/officeDocument/2006/relationships/image" Target="../media/image47.png"/><Relationship Id="rId4" Type="http://schemas.openxmlformats.org/officeDocument/2006/relationships/image" Target="../media/image6.emf"/><Relationship Id="rId9" Type="http://schemas.microsoft.com/office/2017/06/relationships/model3d" Target="../media/model3d1.glb"/><Relationship Id="rId13" Type="http://schemas.microsoft.com/office/2017/06/relationships/model3d" Target="../media/model3d2.glb"/><Relationship Id="rId18" Type="http://schemas.openxmlformats.org/officeDocument/2006/relationships/customXml" Target="../ink/ink2.xml"/><Relationship Id="rId39" Type="http://schemas.openxmlformats.org/officeDocument/2006/relationships/image" Target="../media/image30.png"/><Relationship Id="rId34" Type="http://schemas.openxmlformats.org/officeDocument/2006/relationships/customXml" Target="../ink/ink10.xml"/><Relationship Id="rId50" Type="http://schemas.openxmlformats.org/officeDocument/2006/relationships/customXml" Target="../ink/ink18.xml"/><Relationship Id="rId55" Type="http://schemas.openxmlformats.org/officeDocument/2006/relationships/image" Target="../media/image38.png"/><Relationship Id="rId7" Type="http://schemas.openxmlformats.org/officeDocument/2006/relationships/image" Target="../media/image15.png"/><Relationship Id="rId71" Type="http://schemas.openxmlformats.org/officeDocument/2006/relationships/image" Target="../media/image46.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91.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82.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92.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82.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93.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94.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95.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96.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97.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82.emf"/></Relationships>
</file>

<file path=ppt/slides/_rels/slide9.xml.rels><?xml version="1.0" encoding="UTF-8" standalone="yes"?>
<Relationships xmlns="http://schemas.openxmlformats.org/package/2006/relationships"><Relationship Id="rId13" Type="http://schemas.openxmlformats.org/officeDocument/2006/relationships/customXml" Target="../ink/ink32.xml"/><Relationship Id="rId18" Type="http://schemas.openxmlformats.org/officeDocument/2006/relationships/image" Target="../media/image340.png"/><Relationship Id="rId26" Type="http://schemas.openxmlformats.org/officeDocument/2006/relationships/image" Target="../media/image380.png"/><Relationship Id="rId3" Type="http://schemas.openxmlformats.org/officeDocument/2006/relationships/oleObject" Target="../embeddings/oleObject15.bin"/><Relationship Id="rId21" Type="http://schemas.openxmlformats.org/officeDocument/2006/relationships/customXml" Target="../ink/ink36.xml"/><Relationship Id="rId34" Type="http://schemas.openxmlformats.org/officeDocument/2006/relationships/image" Target="../media/image51.png"/><Relationship Id="rId7" Type="http://schemas.openxmlformats.org/officeDocument/2006/relationships/image" Target="../media/image15.png"/><Relationship Id="rId12" Type="http://schemas.openxmlformats.org/officeDocument/2006/relationships/image" Target="../media/image310.png"/><Relationship Id="rId17" Type="http://schemas.openxmlformats.org/officeDocument/2006/relationships/customXml" Target="../ink/ink34.xml"/><Relationship Id="rId25" Type="http://schemas.openxmlformats.org/officeDocument/2006/relationships/customXml" Target="../ink/ink38.xml"/><Relationship Id="rId33" Type="http://schemas.openxmlformats.org/officeDocument/2006/relationships/image" Target="../media/image50.png"/><Relationship Id="rId2" Type="http://schemas.openxmlformats.org/officeDocument/2006/relationships/slideLayout" Target="../slideLayouts/slideLayout3.xml"/><Relationship Id="rId16" Type="http://schemas.openxmlformats.org/officeDocument/2006/relationships/image" Target="../media/image330.png"/><Relationship Id="rId20" Type="http://schemas.openxmlformats.org/officeDocument/2006/relationships/image" Target="../media/image350.png"/><Relationship Id="rId29" Type="http://schemas.openxmlformats.org/officeDocument/2006/relationships/customXml" Target="../ink/ink40.xml"/><Relationship Id="rId1" Type="http://schemas.openxmlformats.org/officeDocument/2006/relationships/tags" Target="../tags/tag16.xml"/><Relationship Id="rId6" Type="http://schemas.openxmlformats.org/officeDocument/2006/relationships/image" Target="../media/image14.png"/><Relationship Id="rId11" Type="http://schemas.openxmlformats.org/officeDocument/2006/relationships/customXml" Target="../ink/ink31.xml"/><Relationship Id="rId24" Type="http://schemas.openxmlformats.org/officeDocument/2006/relationships/image" Target="../media/image370.png"/><Relationship Id="rId32" Type="http://schemas.openxmlformats.org/officeDocument/2006/relationships/image" Target="../media/image410.png"/><Relationship Id="rId5" Type="http://schemas.openxmlformats.org/officeDocument/2006/relationships/image" Target="../media/image18.png"/><Relationship Id="rId15" Type="http://schemas.openxmlformats.org/officeDocument/2006/relationships/customXml" Target="../ink/ink33.xml"/><Relationship Id="rId23" Type="http://schemas.openxmlformats.org/officeDocument/2006/relationships/customXml" Target="../ink/ink37.xml"/><Relationship Id="rId28" Type="http://schemas.openxmlformats.org/officeDocument/2006/relationships/image" Target="../media/image390.png"/><Relationship Id="rId10" Type="http://schemas.openxmlformats.org/officeDocument/2006/relationships/image" Target="../media/image49.png"/><Relationship Id="rId19" Type="http://schemas.openxmlformats.org/officeDocument/2006/relationships/customXml" Target="../ink/ink35.xml"/><Relationship Id="rId31" Type="http://schemas.openxmlformats.org/officeDocument/2006/relationships/customXml" Target="../ink/ink41.xml"/><Relationship Id="rId4" Type="http://schemas.openxmlformats.org/officeDocument/2006/relationships/image" Target="../media/image6.emf"/><Relationship Id="rId9" Type="http://schemas.microsoft.com/office/2017/06/relationships/model3d" Target="../media/model3d2.glb"/><Relationship Id="rId14" Type="http://schemas.openxmlformats.org/officeDocument/2006/relationships/image" Target="../media/image320.png"/><Relationship Id="rId22" Type="http://schemas.openxmlformats.org/officeDocument/2006/relationships/image" Target="../media/image360.png"/><Relationship Id="rId27" Type="http://schemas.openxmlformats.org/officeDocument/2006/relationships/customXml" Target="../ink/ink39.xml"/><Relationship Id="rId30" Type="http://schemas.openxmlformats.org/officeDocument/2006/relationships/image" Target="../media/image400.png"/><Relationship Id="rId8" Type="http://schemas.openxmlformats.org/officeDocument/2006/relationships/image" Target="../media/image16.png"/></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82.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98.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99.xml"/><Relationship Id="rId5" Type="http://schemas.openxmlformats.org/officeDocument/2006/relationships/image" Target="../media/image99.emf"/><Relationship Id="rId4" Type="http://schemas.openxmlformats.org/officeDocument/2006/relationships/oleObject" Target="../embeddings/oleObject98.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5" Type="http://schemas.openxmlformats.org/officeDocument/2006/relationships/chart" Target="../charts/chart26.xml"/><Relationship Id="rId4" Type="http://schemas.openxmlformats.org/officeDocument/2006/relationships/image" Target="../media/image100.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10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chart" Target="../charts/chart30.xml"/><Relationship Id="rId4" Type="http://schemas.openxmlformats.org/officeDocument/2006/relationships/image" Target="../media/image82.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chart" Target="../charts/chart31.xml"/><Relationship Id="rId4" Type="http://schemas.openxmlformats.org/officeDocument/2006/relationships/image" Target="../media/image82.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102.emf"/></Relationships>
</file>

<file path=ppt/slides/_rels/slide98.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4.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103.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9.xml"/><Relationship Id="rId4" Type="http://schemas.openxmlformats.org/officeDocument/2006/relationships/image" Target="../media/image10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5027251"/>
            <a:ext cx="10969625" cy="1570399"/>
          </a:xfrm>
        </p:spPr>
        <p:txBody>
          <a:bodyPr vert="horz"/>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pic>
        <p:nvPicPr>
          <p:cNvPr id="9" name="Picture Placeholder 8" descr="Shape&#10;&#10;Description automatically generated with medium confidence">
            <a:extLst>
              <a:ext uri="{FF2B5EF4-FFF2-40B4-BE49-F238E27FC236}">
                <a16:creationId xmlns:a16="http://schemas.microsoft.com/office/drawing/2014/main" id="{71CBE68B-87DC-BB88-B767-E5F93F1F93D8}"/>
              </a:ext>
            </a:extLst>
          </p:cNvPr>
          <p:cNvPicPr>
            <a:picLocks noGrp="1" noChangeAspect="1"/>
          </p:cNvPicPr>
          <p:nvPr>
            <p:ph type="pic" sz="quarter" idx="4294967295"/>
          </p:nvPr>
        </p:nvPicPr>
        <p:blipFill rotWithShape="1">
          <a:blip r:embed="rId6">
            <a:lum bright="70000" contrast="-70000"/>
            <a:alphaModFix amt="95000"/>
          </a:blip>
          <a:srcRect l="-2811" t="1" r="-3521" b="-26748"/>
          <a:stretch/>
        </p:blipFill>
        <p:spPr>
          <a:xfrm>
            <a:off x="6574450" y="446087"/>
            <a:ext cx="5424488" cy="915988"/>
          </a:xfrm>
          <a:noFill/>
        </p:spPr>
      </p:pic>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661041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otential field and gradient descent approach to path planning</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5770534"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9" name="TextBox 8">
            <a:extLst>
              <a:ext uri="{FF2B5EF4-FFF2-40B4-BE49-F238E27FC236}">
                <a16:creationId xmlns:a16="http://schemas.microsoft.com/office/drawing/2014/main" id="{7A278CB8-5C45-AEE7-67D7-BF7017FB9EF6}"/>
              </a:ext>
            </a:extLst>
          </p:cNvPr>
          <p:cNvSpPr txBox="1"/>
          <p:nvPr/>
        </p:nvSpPr>
        <p:spPr>
          <a:xfrm>
            <a:off x="-5770534"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5770533"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5770533"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12367846" y="1376363"/>
            <a:ext cx="5414027" cy="4745770"/>
          </a:xfrm>
          <a:prstGeom prst="rect">
            <a:avLst/>
          </a:prstGeom>
        </p:spPr>
      </p:pic>
      <p:sp>
        <p:nvSpPr>
          <p:cNvPr id="22" name="Marcador de texto 3">
            <a:extLst>
              <a:ext uri="{FF2B5EF4-FFF2-40B4-BE49-F238E27FC236}">
                <a16:creationId xmlns:a16="http://schemas.microsoft.com/office/drawing/2014/main" id="{B24A2E67-948B-8FA1-AAD9-E6B6468BD6B3}"/>
              </a:ext>
            </a:extLst>
          </p:cNvPr>
          <p:cNvSpPr txBox="1">
            <a:spLocks/>
          </p:cNvSpPr>
          <p:nvPr/>
        </p:nvSpPr>
        <p:spPr>
          <a:xfrm>
            <a:off x="371475" y="1520824"/>
            <a:ext cx="5610225" cy="4708525"/>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reat robot as a point particle in configuration space under the influence of a potential field</a:t>
            </a:r>
          </a:p>
          <a:p>
            <a:pPr marL="514304" lvl="1" indent="-285750">
              <a:spcAft>
                <a:spcPts val="600"/>
              </a:spcAft>
            </a:pPr>
            <a:r>
              <a:rPr lang="en-US" sz="1600" b="0" dirty="0">
                <a:latin typeface="Calibri" panose="020F0502020204030204" pitchFamily="34" charset="0"/>
                <a:cs typeface="Calibri" panose="020F0502020204030204" pitchFamily="34" charset="0"/>
              </a:rPr>
              <a:t>By design, the potential field attracts the robot to the final configuration and repels the robot from boundaries of the free configuration space</a:t>
            </a:r>
          </a:p>
          <a:p>
            <a:pPr marL="514304" lvl="1" indent="-285750">
              <a:spcAft>
                <a:spcPts val="600"/>
              </a:spcAft>
            </a:pPr>
            <a:r>
              <a:rPr lang="en-US" sz="1600" dirty="0">
                <a:latin typeface="Calibri" panose="020F0502020204030204" pitchFamily="34" charset="0"/>
                <a:cs typeface="Calibri" panose="020F0502020204030204" pitchFamily="34" charset="0"/>
              </a:rPr>
              <a:t>If possible, ensure potential field does not have local minim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practice, we implement this using a distinct attractive and repulsive potential field:</a:t>
            </a:r>
          </a:p>
          <a:p>
            <a:pPr marL="514304" lvl="1" indent="-285750" defTabSz="914400">
              <a:spcAft>
                <a:spcPts val="600"/>
              </a:spcAft>
              <a:defRPr/>
            </a:pPr>
            <a:r>
              <a:rPr lang="en-US" sz="1600" dirty="0">
                <a:solidFill>
                  <a:srgbClr val="000000"/>
                </a:solidFill>
                <a:latin typeface="Calibri" panose="020F0502020204030204" pitchFamily="34" charset="0"/>
                <a:ea typeface="+mn-ea"/>
                <a:cs typeface="Calibri" panose="020F0502020204030204" pitchFamily="34" charset="0"/>
              </a:rPr>
              <a:t>Attractive field: (i) monotonically increasing with distance to goal configuration; (ii) well-defined gradient; (iii) zero attractive force at the goal configuration</a:t>
            </a:r>
          </a:p>
          <a:p>
            <a:pPr marL="514304" lvl="1" indent="-285750" defTabSz="914400">
              <a:spcAft>
                <a:spcPts val="600"/>
              </a:spcAf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pulsive field: to prevent robot from colliding with obstacles and when robot is far away from obstacles to exert minimal force. </a:t>
            </a:r>
            <a:r>
              <a:rPr lang="en-US" sz="1600" dirty="0">
                <a:solidFill>
                  <a:srgbClr val="000000"/>
                </a:solidFill>
                <a:latin typeface="Calibri" panose="020F0502020204030204" pitchFamily="34" charset="0"/>
                <a:ea typeface="+mn-ea"/>
                <a:cs typeface="Calibri" panose="020F0502020204030204" pitchFamily="34" charset="0"/>
              </a:rPr>
              <a:t>To facilitate this, d</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fine</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epulsive potential fields at each obstacle + every DH frame of the robot</a:t>
            </a:r>
            <a:endParaRPr lang="en-US" sz="1600" dirty="0">
              <a:latin typeface="Calibri" panose="020F0502020204030204" pitchFamily="34" charset="0"/>
              <a:cs typeface="Calibri" panose="020F0502020204030204" pitchFamily="34" charset="0"/>
            </a:endParaRPr>
          </a:p>
          <a:p>
            <a:pPr marL="285750" indent="-285750">
              <a:spcAft>
                <a:spcPts val="600"/>
              </a:spcAft>
            </a:pPr>
            <a:endParaRPr lang="en-US" sz="1600" b="0" dirty="0">
              <a:latin typeface="Calibri" panose="020F0502020204030204" pitchFamily="34" charset="0"/>
              <a:cs typeface="Calibri" panose="020F0502020204030204" pitchFamily="34" charset="0"/>
            </a:endParaRPr>
          </a:p>
          <a:p>
            <a:pPr marL="285750" indent="-285750">
              <a:spcAft>
                <a:spcPts val="600"/>
              </a:spcAft>
            </a:pPr>
            <a:endParaRPr lang="en-US" sz="1600" b="0" dirty="0">
              <a:latin typeface="Calibri" panose="020F0502020204030204" pitchFamily="34" charset="0"/>
              <a:cs typeface="Calibri" panose="020F0502020204030204" pitchFamily="34" charset="0"/>
            </a:endParaRPr>
          </a:p>
        </p:txBody>
      </p:sp>
      <p:sp>
        <p:nvSpPr>
          <p:cNvPr id="24" name="Marcador de texto 3">
            <a:extLst>
              <a:ext uri="{FF2B5EF4-FFF2-40B4-BE49-F238E27FC236}">
                <a16:creationId xmlns:a16="http://schemas.microsoft.com/office/drawing/2014/main" id="{F53B7C2B-BECA-4926-9FB6-A548E017BBD2}"/>
              </a:ext>
            </a:extLst>
          </p:cNvPr>
          <p:cNvSpPr txBox="1">
            <a:spLocks/>
          </p:cNvSpPr>
          <p:nvPr/>
        </p:nvSpPr>
        <p:spPr>
          <a:xfrm>
            <a:off x="6221039" y="1520824"/>
            <a:ext cx="5610225" cy="4347703"/>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refresher, this involves taking small steps in the direction of the negative gradient and repeating until the final configuration is reached; the configurations explored in this method form waypoints in our path</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erminate when configuration reaches sufficiently near the goal configuration based on a tolerance selected for the task</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he problem that plagues all gradient descent algorithms is the possible existence of local minima in the potential field. </a:t>
            </a:r>
          </a:p>
          <a:p>
            <a:pPr marL="514304" lvl="1" indent="-285750">
              <a:spcAft>
                <a:spcPts val="600"/>
              </a:spcAft>
            </a:pPr>
            <a:r>
              <a:rPr lang="en-US" sz="1600" b="0" dirty="0">
                <a:latin typeface="Calibri" panose="020F0502020204030204" pitchFamily="34" charset="0"/>
                <a:cs typeface="Calibri" panose="020F0502020204030204" pitchFamily="34" charset="0"/>
              </a:rPr>
              <a:t>To detect these local minima, we can check if successive configurations lie within a small region of the configuration space, there is likely a local minima nearby</a:t>
            </a:r>
          </a:p>
          <a:p>
            <a:pPr marL="514304" lvl="1" indent="-285750">
              <a:spcAft>
                <a:spcPts val="600"/>
              </a:spcAft>
            </a:pPr>
            <a:r>
              <a:rPr lang="en-US" sz="1600" b="0" dirty="0">
                <a:latin typeface="Calibri" panose="020F0502020204030204" pitchFamily="34" charset="0"/>
                <a:cs typeface="Calibri" panose="020F0502020204030204" pitchFamily="34" charset="0"/>
              </a:rPr>
              <a:t>We can escape the local minima by defining a random walk once if/when the planner gets stuck; the random walk can be generated by adding a small fixed constant to current configuration</a:t>
            </a:r>
          </a:p>
          <a:p>
            <a:pPr marL="514304" lvl="1" indent="-285750">
              <a:spcAft>
                <a:spcPts val="600"/>
              </a:spcAft>
            </a:pPr>
            <a:endParaRPr lang="en-US" sz="1600" b="0" dirty="0">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E16EC91D-D67D-D084-802E-DBAA4D61B49C}"/>
              </a:ext>
            </a:extLst>
          </p:cNvPr>
          <p:cNvSpPr/>
          <p:nvPr/>
        </p:nvSpPr>
        <p:spPr>
          <a:xfrm>
            <a:off x="384174" y="989472"/>
            <a:ext cx="5711826"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Overview and formulation of potential field approach</a:t>
            </a:r>
          </a:p>
        </p:txBody>
      </p:sp>
      <p:sp>
        <p:nvSpPr>
          <p:cNvPr id="26" name="Rectangle 25">
            <a:extLst>
              <a:ext uri="{FF2B5EF4-FFF2-40B4-BE49-F238E27FC236}">
                <a16:creationId xmlns:a16="http://schemas.microsoft.com/office/drawing/2014/main" id="{81EBB276-6940-3550-33F1-9FD47980402E}"/>
              </a:ext>
            </a:extLst>
          </p:cNvPr>
          <p:cNvSpPr/>
          <p:nvPr/>
        </p:nvSpPr>
        <p:spPr>
          <a:xfrm>
            <a:off x="6180136" y="989472"/>
            <a:ext cx="5640389"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Generating path using gradient descent</a:t>
            </a:r>
          </a:p>
        </p:txBody>
      </p:sp>
    </p:spTree>
    <p:extLst>
      <p:ext uri="{BB962C8B-B14F-4D97-AF65-F5344CB8AC3E}">
        <p14:creationId xmlns:p14="http://schemas.microsoft.com/office/powerpoint/2010/main" val="17695329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98587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Interpolate between the waypoints generated by gradient descent using quintic polynomial trajectories</a:t>
            </a:r>
          </a:p>
        </p:txBody>
      </p:sp>
      <p:sp>
        <p:nvSpPr>
          <p:cNvPr id="8" name="Text Placeholder 7">
            <a:extLst>
              <a:ext uri="{FF2B5EF4-FFF2-40B4-BE49-F238E27FC236}">
                <a16:creationId xmlns:a16="http://schemas.microsoft.com/office/drawing/2014/main" id="{F2B44AB2-DF54-B7A3-B516-21BFC74CA91C}"/>
              </a:ext>
            </a:extLst>
          </p:cNvPr>
          <p:cNvSpPr>
            <a:spLocks noGrp="1"/>
          </p:cNvSpPr>
          <p:nvPr>
            <p:ph type="body" sz="quarter" idx="15"/>
          </p:nvPr>
        </p:nvSpPr>
        <p:spPr>
          <a:xfrm>
            <a:off x="371475" y="1520825"/>
            <a:ext cx="5653088" cy="4787900"/>
          </a:xfrm>
        </p:spPr>
        <p:txBody>
          <a:bodyPr/>
          <a:lstStyle/>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For each joint in the robot, we define a trajectory in the configuration space which connects the current state to the next waypoint while satisfying velocity and acceleration constraints</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Smooth and continuous trajectories are essential to avoid impulsive movements which may excite vibrational modes in the manipulator &amp; reduce tracking accuracy</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Given we have 6 constraints (</a:t>
            </a:r>
            <a:r>
              <a:rPr lang="en-US" sz="1800" b="0" i="0" u="none" strike="noStrike" baseline="0" dirty="0">
                <a:latin typeface="CMR10"/>
              </a:rPr>
              <a:t>2x for initial and final configuration; 2x for initial and final velocities; 2x for initial and final accelerations), we need a fifth order polynomial</a:t>
            </a:r>
            <a:endParaRPr lang="en-US" b="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b="0" dirty="0">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9473D392-569B-2814-C3EF-97C04CC44946}"/>
              </a:ext>
            </a:extLst>
          </p:cNvPr>
          <p:cNvGrpSpPr/>
          <p:nvPr/>
        </p:nvGrpSpPr>
        <p:grpSpPr>
          <a:xfrm>
            <a:off x="-6695850" y="0"/>
            <a:ext cx="5300519" cy="6409669"/>
            <a:chOff x="90138" y="1110430"/>
            <a:chExt cx="5300519" cy="6409669"/>
          </a:xfrm>
        </p:grpSpPr>
        <p:pic>
          <p:nvPicPr>
            <p:cNvPr id="18" name="Picture 17">
              <a:extLst>
                <a:ext uri="{FF2B5EF4-FFF2-40B4-BE49-F238E27FC236}">
                  <a16:creationId xmlns:a16="http://schemas.microsoft.com/office/drawing/2014/main" id="{E52B9C88-3A8C-3F3B-7F33-0DC8BFFB54AF}"/>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1" name="Picture 20">
              <a:extLst>
                <a:ext uri="{FF2B5EF4-FFF2-40B4-BE49-F238E27FC236}">
                  <a16:creationId xmlns:a16="http://schemas.microsoft.com/office/drawing/2014/main" id="{9F696813-98B7-2A4E-AC4E-FEF9CB56A36C}"/>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DACDDF5E-C34E-2AA7-10AE-8F1211201B40}"/>
                </a:ext>
              </a:extLst>
            </p:cNvPr>
            <p:cNvPicPr>
              <a:picLocks noChangeAspect="1"/>
            </p:cNvPicPr>
            <p:nvPr/>
          </p:nvPicPr>
          <p:blipFill>
            <a:blip r:embed="rId7"/>
            <a:stretch>
              <a:fillRect/>
            </a:stretch>
          </p:blipFill>
          <p:spPr>
            <a:xfrm>
              <a:off x="255965" y="5691044"/>
              <a:ext cx="5134692" cy="1829055"/>
            </a:xfrm>
            <a:prstGeom prst="rect">
              <a:avLst/>
            </a:prstGeom>
          </p:spPr>
        </p:pic>
      </p:grpSp>
      <p:grpSp>
        <p:nvGrpSpPr>
          <p:cNvPr id="23" name="Group 22">
            <a:extLst>
              <a:ext uri="{FF2B5EF4-FFF2-40B4-BE49-F238E27FC236}">
                <a16:creationId xmlns:a16="http://schemas.microsoft.com/office/drawing/2014/main" id="{E9751E87-DF52-BC7B-313F-8FE3EA70D323}"/>
              </a:ext>
            </a:extLst>
          </p:cNvPr>
          <p:cNvGrpSpPr/>
          <p:nvPr/>
        </p:nvGrpSpPr>
        <p:grpSpPr>
          <a:xfrm>
            <a:off x="13299507" y="822953"/>
            <a:ext cx="5258534" cy="5101032"/>
            <a:chOff x="6501161" y="606298"/>
            <a:chExt cx="5258534" cy="5101032"/>
          </a:xfrm>
        </p:grpSpPr>
        <p:pic>
          <p:nvPicPr>
            <p:cNvPr id="25" name="Picture 24">
              <a:extLst>
                <a:ext uri="{FF2B5EF4-FFF2-40B4-BE49-F238E27FC236}">
                  <a16:creationId xmlns:a16="http://schemas.microsoft.com/office/drawing/2014/main" id="{4758FB60-B089-4846-9A4E-8549DF499249}"/>
                </a:ext>
              </a:extLst>
            </p:cNvPr>
            <p:cNvPicPr>
              <a:picLocks noChangeAspect="1"/>
            </p:cNvPicPr>
            <p:nvPr/>
          </p:nvPicPr>
          <p:blipFill>
            <a:blip r:embed="rId8"/>
            <a:stretch>
              <a:fillRect/>
            </a:stretch>
          </p:blipFill>
          <p:spPr>
            <a:xfrm>
              <a:off x="6501161" y="606298"/>
              <a:ext cx="5258534" cy="1943371"/>
            </a:xfrm>
            <a:prstGeom prst="rect">
              <a:avLst/>
            </a:prstGeom>
          </p:spPr>
        </p:pic>
        <p:pic>
          <p:nvPicPr>
            <p:cNvPr id="27" name="Picture 26">
              <a:extLst>
                <a:ext uri="{FF2B5EF4-FFF2-40B4-BE49-F238E27FC236}">
                  <a16:creationId xmlns:a16="http://schemas.microsoft.com/office/drawing/2014/main" id="{9E236C7C-CC73-C8B3-D6B1-1724C55EB9D7}"/>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29" name="Picture 28">
              <a:extLst>
                <a:ext uri="{FF2B5EF4-FFF2-40B4-BE49-F238E27FC236}">
                  <a16:creationId xmlns:a16="http://schemas.microsoft.com/office/drawing/2014/main" id="{F1037672-79C5-192E-2B16-52503D043C76}"/>
                </a:ext>
              </a:extLst>
            </p:cNvPr>
            <p:cNvPicPr>
              <a:picLocks noChangeAspect="1"/>
            </p:cNvPicPr>
            <p:nvPr/>
          </p:nvPicPr>
          <p:blipFill>
            <a:blip r:embed="rId10"/>
            <a:stretch>
              <a:fillRect/>
            </a:stretch>
          </p:blipFill>
          <p:spPr>
            <a:xfrm>
              <a:off x="6501161" y="3382906"/>
              <a:ext cx="4972744" cy="2324424"/>
            </a:xfrm>
            <a:prstGeom prst="rect">
              <a:avLst/>
            </a:prstGeom>
          </p:spPr>
        </p:pic>
      </p:grpSp>
      <p:grpSp>
        <p:nvGrpSpPr>
          <p:cNvPr id="39" name="Group 38">
            <a:extLst>
              <a:ext uri="{FF2B5EF4-FFF2-40B4-BE49-F238E27FC236}">
                <a16:creationId xmlns:a16="http://schemas.microsoft.com/office/drawing/2014/main" id="{D134BF50-FAD2-D4C9-33D5-5C7BCF4DD01F}"/>
              </a:ext>
            </a:extLst>
          </p:cNvPr>
          <p:cNvGrpSpPr/>
          <p:nvPr/>
        </p:nvGrpSpPr>
        <p:grpSpPr>
          <a:xfrm>
            <a:off x="6167438" y="4238203"/>
            <a:ext cx="5365216" cy="1813601"/>
            <a:chOff x="6342484" y="1520825"/>
            <a:chExt cx="5365216" cy="1813601"/>
          </a:xfrm>
        </p:grpSpPr>
        <p:pic>
          <p:nvPicPr>
            <p:cNvPr id="28" name="Picture 27">
              <a:extLst>
                <a:ext uri="{FF2B5EF4-FFF2-40B4-BE49-F238E27FC236}">
                  <a16:creationId xmlns:a16="http://schemas.microsoft.com/office/drawing/2014/main" id="{DA417A45-8C93-F7E6-3474-CCAFE67D3C2B}"/>
                </a:ext>
              </a:extLst>
            </p:cNvPr>
            <p:cNvPicPr>
              <a:picLocks noChangeAspect="1"/>
            </p:cNvPicPr>
            <p:nvPr/>
          </p:nvPicPr>
          <p:blipFill rotWithShape="1">
            <a:blip r:embed="rId10"/>
            <a:srcRect l="3294" t="13411" b="34768"/>
            <a:stretch/>
          </p:blipFill>
          <p:spPr>
            <a:xfrm>
              <a:off x="6342484" y="1990551"/>
              <a:ext cx="5365216" cy="1343875"/>
            </a:xfrm>
            <a:prstGeom prst="rect">
              <a:avLst/>
            </a:prstGeom>
          </p:spPr>
        </p:pic>
        <p:pic>
          <p:nvPicPr>
            <p:cNvPr id="33" name="Picture 32">
              <a:extLst>
                <a:ext uri="{FF2B5EF4-FFF2-40B4-BE49-F238E27FC236}">
                  <a16:creationId xmlns:a16="http://schemas.microsoft.com/office/drawing/2014/main" id="{F3051FB1-CE75-7288-875D-0826D85D7CA5}"/>
                </a:ext>
              </a:extLst>
            </p:cNvPr>
            <p:cNvPicPr>
              <a:picLocks noChangeAspect="1"/>
            </p:cNvPicPr>
            <p:nvPr/>
          </p:nvPicPr>
          <p:blipFill>
            <a:blip r:embed="rId11"/>
            <a:stretch>
              <a:fillRect/>
            </a:stretch>
          </p:blipFill>
          <p:spPr>
            <a:xfrm>
              <a:off x="6839202" y="1520825"/>
              <a:ext cx="4029637" cy="428685"/>
            </a:xfrm>
            <a:prstGeom prst="rect">
              <a:avLst/>
            </a:prstGeom>
          </p:spPr>
        </p:pic>
      </p:grpSp>
      <p:grpSp>
        <p:nvGrpSpPr>
          <p:cNvPr id="34" name="Group 33">
            <a:extLst>
              <a:ext uri="{FF2B5EF4-FFF2-40B4-BE49-F238E27FC236}">
                <a16:creationId xmlns:a16="http://schemas.microsoft.com/office/drawing/2014/main" id="{6D8EAD80-C29F-BCDE-6C28-0BB7A13756FC}"/>
              </a:ext>
            </a:extLst>
          </p:cNvPr>
          <p:cNvGrpSpPr/>
          <p:nvPr/>
        </p:nvGrpSpPr>
        <p:grpSpPr>
          <a:xfrm>
            <a:off x="13533648" y="6171178"/>
            <a:ext cx="4972744" cy="3006003"/>
            <a:chOff x="6501161" y="2701327"/>
            <a:chExt cx="4972744" cy="3006003"/>
          </a:xfrm>
        </p:grpSpPr>
        <p:pic>
          <p:nvPicPr>
            <p:cNvPr id="35" name="Picture 34">
              <a:extLst>
                <a:ext uri="{FF2B5EF4-FFF2-40B4-BE49-F238E27FC236}">
                  <a16:creationId xmlns:a16="http://schemas.microsoft.com/office/drawing/2014/main" id="{92615161-CE3A-7774-9E10-933D98235F7F}"/>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36" name="Picture 35">
              <a:extLst>
                <a:ext uri="{FF2B5EF4-FFF2-40B4-BE49-F238E27FC236}">
                  <a16:creationId xmlns:a16="http://schemas.microsoft.com/office/drawing/2014/main" id="{4E7106A1-EB7C-5A91-9E4B-0709B39D55DB}"/>
                </a:ext>
              </a:extLst>
            </p:cNvPr>
            <p:cNvPicPr>
              <a:picLocks noChangeAspect="1"/>
            </p:cNvPicPr>
            <p:nvPr/>
          </p:nvPicPr>
          <p:blipFill>
            <a:blip r:embed="rId10"/>
            <a:stretch>
              <a:fillRect/>
            </a:stretch>
          </p:blipFill>
          <p:spPr>
            <a:xfrm>
              <a:off x="6501161" y="3382906"/>
              <a:ext cx="4972744" cy="2324424"/>
            </a:xfrm>
            <a:prstGeom prst="rect">
              <a:avLst/>
            </a:prstGeom>
          </p:spPr>
        </p:pic>
      </p:grpSp>
      <p:sp>
        <p:nvSpPr>
          <p:cNvPr id="37" name="TextBox 36">
            <a:extLst>
              <a:ext uri="{FF2B5EF4-FFF2-40B4-BE49-F238E27FC236}">
                <a16:creationId xmlns:a16="http://schemas.microsoft.com/office/drawing/2014/main" id="{692EB9FB-21FF-FF0B-921D-2ECF07243123}"/>
              </a:ext>
            </a:extLst>
          </p:cNvPr>
          <p:cNvSpPr txBox="1"/>
          <p:nvPr/>
        </p:nvSpPr>
        <p:spPr>
          <a:xfrm>
            <a:off x="6342483" y="6109523"/>
            <a:ext cx="5365216"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7 </a:t>
            </a:r>
            <a:r>
              <a:rPr lang="en-US" sz="1200" noProof="0" dirty="0">
                <a:latin typeface="Calibri" panose="020F0502020204030204" pitchFamily="34" charset="0"/>
                <a:cs typeface="Calibri" panose="020F0502020204030204" pitchFamily="34" charset="0"/>
              </a:rPr>
              <a:t>General form of quintic polynomial (top) and quintic polynomial trajectory, velocity and acceleration profile (bottom)</a:t>
            </a:r>
          </a:p>
        </p:txBody>
      </p:sp>
      <p:pic>
        <p:nvPicPr>
          <p:cNvPr id="41" name="Picture 40">
            <a:extLst>
              <a:ext uri="{FF2B5EF4-FFF2-40B4-BE49-F238E27FC236}">
                <a16:creationId xmlns:a16="http://schemas.microsoft.com/office/drawing/2014/main" id="{82E2DAE4-C271-7BFC-A1EB-A1547F299515}"/>
              </a:ext>
            </a:extLst>
          </p:cNvPr>
          <p:cNvPicPr>
            <a:picLocks noChangeAspect="1"/>
          </p:cNvPicPr>
          <p:nvPr/>
        </p:nvPicPr>
        <p:blipFill rotWithShape="1">
          <a:blip r:embed="rId12"/>
          <a:srcRect l="15908" t="818" r="7336" b="6687"/>
          <a:stretch/>
        </p:blipFill>
        <p:spPr>
          <a:xfrm>
            <a:off x="6543826" y="1119864"/>
            <a:ext cx="4270295" cy="2564095"/>
          </a:xfrm>
          <a:prstGeom prst="rect">
            <a:avLst/>
          </a:prstGeom>
        </p:spPr>
      </p:pic>
      <p:sp>
        <p:nvSpPr>
          <p:cNvPr id="42" name="TextBox 41">
            <a:extLst>
              <a:ext uri="{FF2B5EF4-FFF2-40B4-BE49-F238E27FC236}">
                <a16:creationId xmlns:a16="http://schemas.microsoft.com/office/drawing/2014/main" id="{AE91B816-12FB-94AB-2BB6-8C97613BE362}"/>
              </a:ext>
            </a:extLst>
          </p:cNvPr>
          <p:cNvSpPr txBox="1"/>
          <p:nvPr/>
        </p:nvSpPr>
        <p:spPr>
          <a:xfrm>
            <a:off x="6775417" y="3659898"/>
            <a:ext cx="3863508"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6 </a:t>
            </a:r>
            <a:r>
              <a:rPr lang="en-US" sz="1200" noProof="0" dirty="0">
                <a:latin typeface="Calibri" panose="020F0502020204030204" pitchFamily="34" charset="0"/>
                <a:cs typeface="Calibri" panose="020F0502020204030204" pitchFamily="34" charset="0"/>
              </a:rPr>
              <a:t>Waypoints from start to goal configuration generated by gradient descent on potential fields</a:t>
            </a:r>
          </a:p>
        </p:txBody>
      </p:sp>
    </p:spTree>
    <p:extLst>
      <p:ext uri="{BB962C8B-B14F-4D97-AF65-F5344CB8AC3E}">
        <p14:creationId xmlns:p14="http://schemas.microsoft.com/office/powerpoint/2010/main" val="212026182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290987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Using PID loops to ensure robot follows the quintic polynomial-based approach discussed earlier</a:t>
            </a:r>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18941" y="7695728"/>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384174" y="3774992"/>
            <a:ext cx="8053729" cy="2681194"/>
          </a:xfrm>
          <a:prstGeom prst="rect">
            <a:avLst/>
          </a:prstGeom>
        </p:spPr>
      </p:pic>
      <p:sp>
        <p:nvSpPr>
          <p:cNvPr id="43" name="Text Placeholder 7">
            <a:extLst>
              <a:ext uri="{FF2B5EF4-FFF2-40B4-BE49-F238E27FC236}">
                <a16:creationId xmlns:a16="http://schemas.microsoft.com/office/drawing/2014/main" id="{3106E82C-7AD0-18A9-DCA3-99D04A85163A}"/>
              </a:ext>
            </a:extLst>
          </p:cNvPr>
          <p:cNvSpPr txBox="1">
            <a:spLocks/>
          </p:cNvSpPr>
          <p:nvPr/>
        </p:nvSpPr>
        <p:spPr>
          <a:xfrm>
            <a:off x="371475" y="1520825"/>
            <a:ext cx="5653088"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Control loop sends waypoint position commands to the external device which generates electromagnetic field; position commands are translated into motor commands such as targeted angular velocity in the X and Y direction</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PID loops for each control variable use the robot’s position as feedback to speed up / slow down the robot, ensuring it reaches the waypoint quickly and accurately</a:t>
            </a:r>
          </a:p>
        </p:txBody>
      </p:sp>
      <p:grpSp>
        <p:nvGrpSpPr>
          <p:cNvPr id="50" name="Group 49">
            <a:extLst>
              <a:ext uri="{FF2B5EF4-FFF2-40B4-BE49-F238E27FC236}">
                <a16:creationId xmlns:a16="http://schemas.microsoft.com/office/drawing/2014/main" id="{A03A793C-E4D7-22DE-5D86-B39459E8AA90}"/>
              </a:ext>
            </a:extLst>
          </p:cNvPr>
          <p:cNvGrpSpPr/>
          <p:nvPr/>
        </p:nvGrpSpPr>
        <p:grpSpPr>
          <a:xfrm>
            <a:off x="6949048" y="1097355"/>
            <a:ext cx="3931116" cy="2954933"/>
            <a:chOff x="6949048" y="1018433"/>
            <a:chExt cx="3931116" cy="2954933"/>
          </a:xfrm>
        </p:grpSpPr>
        <p:pic>
          <p:nvPicPr>
            <p:cNvPr id="44" name="Picture 43">
              <a:extLst>
                <a:ext uri="{FF2B5EF4-FFF2-40B4-BE49-F238E27FC236}">
                  <a16:creationId xmlns:a16="http://schemas.microsoft.com/office/drawing/2014/main" id="{FB3C69A2-E9E4-B058-1F5A-D54D02B9ED38}"/>
                </a:ext>
              </a:extLst>
            </p:cNvPr>
            <p:cNvPicPr>
              <a:picLocks noChangeAspect="1"/>
            </p:cNvPicPr>
            <p:nvPr/>
          </p:nvPicPr>
          <p:blipFill>
            <a:blip r:embed="rId7"/>
            <a:stretch>
              <a:fillRect/>
            </a:stretch>
          </p:blipFill>
          <p:spPr>
            <a:xfrm>
              <a:off x="6949048" y="1018433"/>
              <a:ext cx="3931116" cy="2954933"/>
            </a:xfrm>
            <a:prstGeom prst="rect">
              <a:avLst/>
            </a:prstGeom>
          </p:spPr>
        </p:pic>
        <p:sp>
          <p:nvSpPr>
            <p:cNvPr id="45" name="Rectangle 44">
              <a:extLst>
                <a:ext uri="{FF2B5EF4-FFF2-40B4-BE49-F238E27FC236}">
                  <a16:creationId xmlns:a16="http://schemas.microsoft.com/office/drawing/2014/main" id="{C6B210C8-19D8-BEAC-EE9D-A1BFBF3415B6}"/>
                </a:ext>
              </a:extLst>
            </p:cNvPr>
            <p:cNvSpPr/>
            <p:nvPr/>
          </p:nvSpPr>
          <p:spPr>
            <a:xfrm>
              <a:off x="7475838" y="3015046"/>
              <a:ext cx="3391969" cy="884177"/>
            </a:xfrm>
            <a:prstGeom prst="rect">
              <a:avLst/>
            </a:prstGeom>
            <a:noFill/>
            <a:ln w="28575">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sp>
        <p:nvSpPr>
          <p:cNvPr id="49" name="TextBox 48">
            <a:extLst>
              <a:ext uri="{FF2B5EF4-FFF2-40B4-BE49-F238E27FC236}">
                <a16:creationId xmlns:a16="http://schemas.microsoft.com/office/drawing/2014/main" id="{D2EBCF61-5DF7-2C84-8ADC-4CDCF3890AA1}"/>
              </a:ext>
            </a:extLst>
          </p:cNvPr>
          <p:cNvSpPr txBox="1"/>
          <p:nvPr/>
        </p:nvSpPr>
        <p:spPr>
          <a:xfrm>
            <a:off x="8625015" y="5464024"/>
            <a:ext cx="2922045"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8 </a:t>
            </a:r>
            <a:r>
              <a:rPr lang="en-US" sz="1200" noProof="0" dirty="0">
                <a:latin typeface="Calibri" panose="020F0502020204030204" pitchFamily="34" charset="0"/>
                <a:cs typeface="Calibri" panose="020F0502020204030204" pitchFamily="34" charset="0"/>
              </a:rPr>
              <a:t>(Top) PID loops exist within the motion executor module in this process diagram; (Left) Example PID loop for a control variable theta</a:t>
            </a:r>
          </a:p>
        </p:txBody>
      </p:sp>
    </p:spTree>
    <p:extLst>
      <p:ext uri="{BB962C8B-B14F-4D97-AF65-F5344CB8AC3E}">
        <p14:creationId xmlns:p14="http://schemas.microsoft.com/office/powerpoint/2010/main" val="3723872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1847657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4</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9489218"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esign Criteria and Key Risks</a:t>
            </a:r>
          </a:p>
        </p:txBody>
      </p:sp>
    </p:spTree>
    <p:extLst>
      <p:ext uri="{BB962C8B-B14F-4D97-AF65-F5344CB8AC3E}">
        <p14:creationId xmlns:p14="http://schemas.microsoft.com/office/powerpoint/2010/main" val="3673579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2728461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medical vision modes which can be used for localiz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19" name="TextBox 18">
            <a:extLst>
              <a:ext uri="{FF2B5EF4-FFF2-40B4-BE49-F238E27FC236}">
                <a16:creationId xmlns:a16="http://schemas.microsoft.com/office/drawing/2014/main" id="{5452505B-2607-5E12-2810-37FD3500987E}"/>
              </a:ext>
            </a:extLst>
          </p:cNvPr>
          <p:cNvSpPr txBox="1"/>
          <p:nvPr/>
        </p:nvSpPr>
        <p:spPr>
          <a:xfrm>
            <a:off x="13226075" y="9355824"/>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84173" y="5240606"/>
            <a:ext cx="11430455" cy="1487342"/>
          </a:xfrm>
        </p:spPr>
        <p:txBody>
          <a:bodyPr>
            <a:noAutofit/>
          </a:bodyPr>
          <a:lstStyle/>
          <a:p>
            <a:pPr marL="339725" indent="-169863">
              <a:spcAft>
                <a:spcPts val="600"/>
              </a:spcAft>
              <a:buFont typeface="Arial" panose="020B0604020202020204" pitchFamily="34" charset="0"/>
              <a:buChar char="•"/>
            </a:pPr>
            <a:r>
              <a:rPr lang="en-US" sz="1400" b="0" dirty="0">
                <a:latin typeface="Calibri" panose="020F0502020204030204" pitchFamily="34" charset="0"/>
                <a:cs typeface="Calibri" panose="020F0502020204030204" pitchFamily="34" charset="0"/>
              </a:rPr>
              <a:t>The problem of localizing objects using the above medical imaging techniques images might seem straightforward, yet practical implementations have seldom appeared</a:t>
            </a:r>
          </a:p>
          <a:p>
            <a:pPr marL="339725" indent="-169863">
              <a:spcAft>
                <a:spcPts val="600"/>
              </a:spcAft>
              <a:buFont typeface="Arial" panose="020B0604020202020204" pitchFamily="34" charset="0"/>
              <a:buChar char="•"/>
            </a:pPr>
            <a:r>
              <a:rPr lang="en-US" sz="1400" b="0" dirty="0">
                <a:latin typeface="Calibri" panose="020F0502020204030204" pitchFamily="34" charset="0"/>
                <a:cs typeface="Calibri" panose="020F0502020204030204" pitchFamily="34" charset="0"/>
              </a:rPr>
              <a:t>Usually, a cascade of basic image filters (such as thresholding, edge detection, image smoothing and noise removal filters) are combined with more sophisticated feature detections routines, such as a variant of Hough transform</a:t>
            </a:r>
          </a:p>
        </p:txBody>
      </p:sp>
      <p:grpSp>
        <p:nvGrpSpPr>
          <p:cNvPr id="4" name="Group 3">
            <a:extLst>
              <a:ext uri="{FF2B5EF4-FFF2-40B4-BE49-F238E27FC236}">
                <a16:creationId xmlns:a16="http://schemas.microsoft.com/office/drawing/2014/main" id="{C1202BFD-9C06-FCCB-C417-286C7675A1C0}"/>
              </a:ext>
            </a:extLst>
          </p:cNvPr>
          <p:cNvGrpSpPr/>
          <p:nvPr/>
        </p:nvGrpSpPr>
        <p:grpSpPr>
          <a:xfrm>
            <a:off x="-367668" y="7698770"/>
            <a:ext cx="11819257" cy="5854794"/>
            <a:chOff x="523875" y="3174136"/>
            <a:chExt cx="11819257" cy="5854794"/>
          </a:xfrm>
        </p:grpSpPr>
        <p:grpSp>
          <p:nvGrpSpPr>
            <p:cNvPr id="28" name="Group 27">
              <a:extLst>
                <a:ext uri="{FF2B5EF4-FFF2-40B4-BE49-F238E27FC236}">
                  <a16:creationId xmlns:a16="http://schemas.microsoft.com/office/drawing/2014/main" id="{B0C93A6F-56C1-5582-0AD4-C8C9E907AD43}"/>
                </a:ext>
              </a:extLst>
            </p:cNvPr>
            <p:cNvGrpSpPr/>
            <p:nvPr/>
          </p:nvGrpSpPr>
          <p:grpSpPr>
            <a:xfrm>
              <a:off x="523875" y="3174136"/>
              <a:ext cx="6081139" cy="5854794"/>
              <a:chOff x="437782" y="2409086"/>
              <a:chExt cx="6081139" cy="5854794"/>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2409086"/>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81303" y="4499087"/>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748535" y="3257445"/>
              <a:ext cx="5594597" cy="4227183"/>
            </a:xfrm>
            <a:prstGeom prst="rect">
              <a:avLst/>
            </a:prstGeom>
          </p:spPr>
        </p:pic>
      </p:grpSp>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12192000" y="11920978"/>
            <a:ext cx="11449050" cy="3265173"/>
          </a:xfrm>
          <a:prstGeom prst="rect">
            <a:avLst/>
          </a:prstGeom>
        </p:spPr>
        <p:txBody>
          <a:bodyPr vert="horz" lIns="0" tIns="0" rIns="0" bIns="0" rtlCol="0">
            <a:noAutofit/>
          </a:bodyPr>
          <a:lstStyle>
            <a:lvl1pPr indent="0" defTabSz="228554">
              <a:lnSpc>
                <a:spcPct val="100000"/>
              </a:lnSpc>
              <a:spcBef>
                <a:spcPts val="0"/>
              </a:spcBef>
              <a:spcAft>
                <a:spcPts val="1200"/>
              </a:spcAft>
              <a:buFont typeface="Arial" panose="020B0604020202020204" pitchFamily="34" charset="0"/>
              <a:buNone/>
              <a:defRPr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dirty="0"/>
          </a:p>
          <a:p>
            <a:endParaRPr lang="en-US" dirty="0"/>
          </a:p>
        </p:txBody>
      </p:sp>
      <p:graphicFrame>
        <p:nvGraphicFramePr>
          <p:cNvPr id="9" name="Table 9">
            <a:extLst>
              <a:ext uri="{FF2B5EF4-FFF2-40B4-BE49-F238E27FC236}">
                <a16:creationId xmlns:a16="http://schemas.microsoft.com/office/drawing/2014/main" id="{20987E65-A93C-092E-CCA2-D02B0992FCA3}"/>
              </a:ext>
            </a:extLst>
          </p:cNvPr>
          <p:cNvGraphicFramePr>
            <a:graphicFrameLocks noGrp="1"/>
          </p:cNvGraphicFramePr>
          <p:nvPr>
            <p:extLst>
              <p:ext uri="{D42A27DB-BD31-4B8C-83A1-F6EECF244321}">
                <p14:modId xmlns:p14="http://schemas.microsoft.com/office/powerpoint/2010/main" val="3624204063"/>
              </p:ext>
            </p:extLst>
          </p:nvPr>
        </p:nvGraphicFramePr>
        <p:xfrm>
          <a:off x="384173" y="1545382"/>
          <a:ext cx="11430455" cy="3449320"/>
        </p:xfrm>
        <a:graphic>
          <a:graphicData uri="http://schemas.openxmlformats.org/drawingml/2006/table">
            <a:tbl>
              <a:tblPr firstRow="1" bandRow="1">
                <a:tableStyleId>{69012ECD-51FC-41F1-AA8D-1B2483CD663E}</a:tableStyleId>
              </a:tblPr>
              <a:tblGrid>
                <a:gridCol w="1952627">
                  <a:extLst>
                    <a:ext uri="{9D8B030D-6E8A-4147-A177-3AD203B41FA5}">
                      <a16:colId xmlns:a16="http://schemas.microsoft.com/office/drawing/2014/main" val="4107807968"/>
                    </a:ext>
                  </a:extLst>
                </a:gridCol>
                <a:gridCol w="2249714">
                  <a:extLst>
                    <a:ext uri="{9D8B030D-6E8A-4147-A177-3AD203B41FA5}">
                      <a16:colId xmlns:a16="http://schemas.microsoft.com/office/drawing/2014/main" val="719486913"/>
                    </a:ext>
                  </a:extLst>
                </a:gridCol>
                <a:gridCol w="2655932">
                  <a:extLst>
                    <a:ext uri="{9D8B030D-6E8A-4147-A177-3AD203B41FA5}">
                      <a16:colId xmlns:a16="http://schemas.microsoft.com/office/drawing/2014/main" val="3082095406"/>
                    </a:ext>
                  </a:extLst>
                </a:gridCol>
                <a:gridCol w="2286091">
                  <a:extLst>
                    <a:ext uri="{9D8B030D-6E8A-4147-A177-3AD203B41FA5}">
                      <a16:colId xmlns:a16="http://schemas.microsoft.com/office/drawing/2014/main" val="2582926066"/>
                    </a:ext>
                  </a:extLst>
                </a:gridCol>
                <a:gridCol w="2286091">
                  <a:extLst>
                    <a:ext uri="{9D8B030D-6E8A-4147-A177-3AD203B41FA5}">
                      <a16:colId xmlns:a16="http://schemas.microsoft.com/office/drawing/2014/main" val="2968185659"/>
                    </a:ext>
                  </a:extLst>
                </a:gridCol>
              </a:tblGrid>
              <a:tr h="370840">
                <a:tc>
                  <a:txBody>
                    <a:bodyPr/>
                    <a:lstStyle/>
                    <a:p>
                      <a:r>
                        <a:rPr lang="en-US" sz="1600" b="1" dirty="0">
                          <a:solidFill>
                            <a:schemeClr val="bg1"/>
                          </a:solidFill>
                          <a:latin typeface="Calibri" panose="020F0502020204030204" pitchFamily="34" charset="0"/>
                          <a:cs typeface="Calibri" panose="020F0502020204030204" pitchFamily="34" charset="0"/>
                        </a:rPr>
                        <a:t>Methodology</a:t>
                      </a:r>
                    </a:p>
                  </a:txBody>
                  <a:tcPr>
                    <a:lnB w="12700" cap="flat" cmpd="sng" algn="ctr">
                      <a:solidFill>
                        <a:schemeClr val="tx1"/>
                      </a:solidFill>
                      <a:prstDash val="solid"/>
                      <a:round/>
                      <a:headEnd type="none" w="med" len="med"/>
                      <a:tailEnd type="none" w="med" len="med"/>
                    </a:lnB>
                    <a:solidFill>
                      <a:schemeClr val="accent1"/>
                    </a:solidFill>
                  </a:tcPr>
                </a:tc>
                <a:tc>
                  <a:txBody>
                    <a:bodyPr/>
                    <a:lstStyle/>
                    <a:p>
                      <a:r>
                        <a:rPr lang="en-US" sz="1600" dirty="0">
                          <a:solidFill>
                            <a:schemeClr val="bg1"/>
                          </a:solidFill>
                          <a:latin typeface="Calibri" panose="020F0502020204030204" pitchFamily="34" charset="0"/>
                          <a:cs typeface="Calibri" panose="020F0502020204030204" pitchFamily="34" charset="0"/>
                        </a:rPr>
                        <a:t>(1) Fluoroscopy</a:t>
                      </a:r>
                    </a:p>
                  </a:txBody>
                  <a:tcPr>
                    <a:lnB w="12700" cap="flat" cmpd="sng" algn="ctr">
                      <a:solidFill>
                        <a:schemeClr val="tx1"/>
                      </a:solidFill>
                      <a:prstDash val="solid"/>
                      <a:round/>
                      <a:headEnd type="none" w="med" len="med"/>
                      <a:tailEnd type="none" w="med" len="med"/>
                    </a:lnB>
                    <a:solidFill>
                      <a:schemeClr val="accent1"/>
                    </a:solidFill>
                  </a:tcPr>
                </a:tc>
                <a:tc>
                  <a:txBody>
                    <a:bodyPr/>
                    <a:lstStyle/>
                    <a:p>
                      <a:r>
                        <a:rPr lang="en-US" sz="1600" dirty="0">
                          <a:latin typeface="Calibri" panose="020F0502020204030204" pitchFamily="34" charset="0"/>
                          <a:cs typeface="Calibri" panose="020F0502020204030204" pitchFamily="34" charset="0"/>
                        </a:rPr>
                        <a:t>(2) CT Scan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3) Ultrasound</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4) MRI</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2648943"/>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Fea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Our microbot, being of high density, should be visible in X-ray image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3+ images + knowledge of human anatomy required to create 3D reconstr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Using continuous beam mode, CT scanners can provide low resolution ~10fps image stream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Can acquire multiple 3D slices in continuous beam m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Can create 3D volume using tracked sweep of 2D imag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latin typeface="Calibri" panose="020F0502020204030204" pitchFamily="34" charset="0"/>
                          <a:cs typeface="Calibri" panose="020F0502020204030204" pitchFamily="34" charset="0"/>
                        </a:rPr>
                        <a:t>Key advantage over (1) and (2) is absence of harmful radi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396091"/>
                  </a:ext>
                </a:extLst>
              </a:tr>
              <a:tr h="160479">
                <a:tc>
                  <a:txBody>
                    <a:bodyPr/>
                    <a:lstStyle/>
                    <a:p>
                      <a:r>
                        <a:rPr lang="en-US" sz="1600" b="1" dirty="0">
                          <a:solidFill>
                            <a:schemeClr val="tx1"/>
                          </a:solidFill>
                          <a:latin typeface="Calibri" panose="020F0502020204030204" pitchFamily="34" charset="0"/>
                          <a:cs typeface="Calibri" panose="020F0502020204030204" pitchFamily="34" charset="0"/>
                        </a:rPr>
                        <a:t>Autonomous (Y/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3">
                  <a:txBody>
                    <a:bodyPr/>
                    <a:lstStyle/>
                    <a:p>
                      <a:pPr marL="0" marR="0" lvl="0" indent="0" algn="ctr" defTabSz="91421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latin typeface="Calibri" panose="020F0502020204030204" pitchFamily="34" charset="0"/>
                          <a:cs typeface="Calibri" panose="020F0502020204030204" pitchFamily="34" charset="0"/>
                        </a:rPr>
                        <a:t>Images must be acquired under command of human oper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marL="285750" indent="-28575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en-US" sz="1400" dirty="0">
                          <a:latin typeface="Calibri" panose="020F0502020204030204" pitchFamily="34" charset="0"/>
                          <a:cs typeface="Calibri" panose="020F0502020204030204" pitchFamily="34" charset="0"/>
                        </a:rPr>
                        <a:t>To be further research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9399492"/>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Key ris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2">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Exposes patient and physician to excessive radiation unless precautionary measures are implemen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Scanning may cause tissue deformation</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Images tend to be noisy due to reflections, air pockets, e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cquisition of images is typically not real-time</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ny metal creates large void in im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3351583"/>
                  </a:ext>
                </a:extLst>
              </a:tr>
            </a:tbl>
          </a:graphicData>
        </a:graphic>
      </p:graphicFrame>
      <p:sp>
        <p:nvSpPr>
          <p:cNvPr id="15" name="TextBox 14">
            <a:extLst>
              <a:ext uri="{FF2B5EF4-FFF2-40B4-BE49-F238E27FC236}">
                <a16:creationId xmlns:a16="http://schemas.microsoft.com/office/drawing/2014/main" id="{99F86E32-7B93-103D-1060-978B76F847C4}"/>
              </a:ext>
            </a:extLst>
          </p:cNvPr>
          <p:cNvSpPr txBox="1"/>
          <p:nvPr/>
        </p:nvSpPr>
        <p:spPr>
          <a:xfrm>
            <a:off x="346074" y="101379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While we are using X-ray imaging streams for this task, several other options also exist:</a:t>
            </a:r>
          </a:p>
        </p:txBody>
      </p:sp>
    </p:spTree>
    <p:extLst>
      <p:ext uri="{BB962C8B-B14F-4D97-AF65-F5344CB8AC3E}">
        <p14:creationId xmlns:p14="http://schemas.microsoft.com/office/powerpoint/2010/main" val="37258661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098454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2318941" y="12108617"/>
            <a:ext cx="5847522" cy="240681"/>
          </a:xfrm>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1307963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6824932"/>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474347" y="6900846"/>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4928226" y="8157341"/>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8632227"/>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052067" y="1043752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2223191" y="5514765"/>
            <a:ext cx="5563376" cy="2772162"/>
          </a:xfrm>
          <a:prstGeom prst="rect">
            <a:avLst/>
          </a:prstGeom>
        </p:spPr>
      </p:pic>
      <p:pic>
        <p:nvPicPr>
          <p:cNvPr id="25" name="Picture 24">
            <a:extLst>
              <a:ext uri="{FF2B5EF4-FFF2-40B4-BE49-F238E27FC236}">
                <a16:creationId xmlns:a16="http://schemas.microsoft.com/office/drawing/2014/main" id="{9FDD2243-14EE-11E2-D1E9-AEA18AC3563E}"/>
              </a:ext>
            </a:extLst>
          </p:cNvPr>
          <p:cNvPicPr>
            <a:picLocks noChangeAspect="1"/>
          </p:cNvPicPr>
          <p:nvPr/>
        </p:nvPicPr>
        <p:blipFill>
          <a:blip r:embed="rId10"/>
          <a:stretch>
            <a:fillRect/>
          </a:stretch>
        </p:blipFill>
        <p:spPr>
          <a:xfrm>
            <a:off x="-760838" y="10915271"/>
            <a:ext cx="5655402" cy="1054572"/>
          </a:xfrm>
          <a:prstGeom prst="rect">
            <a:avLst/>
          </a:prstGeom>
        </p:spPr>
      </p:pic>
      <p:graphicFrame>
        <p:nvGraphicFramePr>
          <p:cNvPr id="12" name="Table 13">
            <a:extLst>
              <a:ext uri="{FF2B5EF4-FFF2-40B4-BE49-F238E27FC236}">
                <a16:creationId xmlns:a16="http://schemas.microsoft.com/office/drawing/2014/main" id="{D9D1534B-172C-9502-66DF-EF43F862AAEE}"/>
              </a:ext>
            </a:extLst>
          </p:cNvPr>
          <p:cNvGraphicFramePr>
            <a:graphicFrameLocks noGrp="1"/>
          </p:cNvGraphicFramePr>
          <p:nvPr>
            <p:extLst>
              <p:ext uri="{D42A27DB-BD31-4B8C-83A1-F6EECF244321}">
                <p14:modId xmlns:p14="http://schemas.microsoft.com/office/powerpoint/2010/main" val="1714659200"/>
              </p:ext>
            </p:extLst>
          </p:nvPr>
        </p:nvGraphicFramePr>
        <p:xfrm>
          <a:off x="384174" y="1538396"/>
          <a:ext cx="11439526" cy="3322320"/>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sz="1600" dirty="0">
                          <a:latin typeface="Calibri" panose="020F0502020204030204" pitchFamily="34" charset="0"/>
                          <a:cs typeface="Calibri" panose="020F0502020204030204" pitchFamily="34" charset="0"/>
                        </a:rPr>
                        <a:t>Path Planning Algorithm</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otential Field w/ Gradient Desc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This approach is well-suited for large configuration spaces with several obstacles where it’s hard to map free configuration spac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Susceptible to failure due to the presence of local minima in the potential fiel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Uses a heuristic function to prioritize exploring nodes in the robot’s free configuration space which have a lower estimated distance to the goal</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ationally expensive when: (i) search space is large; (ii) dimensions of the search problem are high </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RRT / R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ully randomized approach, which runs several iterations of randomly adding points to a tree (if no collision) until a path to goal is found or time expir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By default, RRT can result in quite long and windy paths which require being pruned down to the shortest possible collision-free path</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
        <p:nvSpPr>
          <p:cNvPr id="13" name="TextBox 12">
            <a:extLst>
              <a:ext uri="{FF2B5EF4-FFF2-40B4-BE49-F238E27FC236}">
                <a16:creationId xmlns:a16="http://schemas.microsoft.com/office/drawing/2014/main" id="{A075DAB4-B20A-6436-3885-901FC342A878}"/>
              </a:ext>
            </a:extLst>
          </p:cNvPr>
          <p:cNvSpPr txBox="1"/>
          <p:nvPr/>
        </p:nvSpPr>
        <p:spPr>
          <a:xfrm>
            <a:off x="346074" y="101379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sp>
        <p:nvSpPr>
          <p:cNvPr id="15" name="Marcador de texto 3">
            <a:extLst>
              <a:ext uri="{FF2B5EF4-FFF2-40B4-BE49-F238E27FC236}">
                <a16:creationId xmlns:a16="http://schemas.microsoft.com/office/drawing/2014/main" id="{351A2A10-53D0-EA31-6BCF-4B2806571F4F}"/>
              </a:ext>
            </a:extLst>
          </p:cNvPr>
          <p:cNvSpPr txBox="1">
            <a:spLocks/>
          </p:cNvSpPr>
          <p:nvPr/>
        </p:nvSpPr>
        <p:spPr>
          <a:xfrm>
            <a:off x="384173" y="5077614"/>
            <a:ext cx="11430455" cy="1487342"/>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45720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Ultimately decided to proceed with potential field approach to path planning since the configuration space for our robot may have many obstacles based on human anatomy that we are trying to steer clear of</a:t>
            </a:r>
          </a:p>
          <a:p>
            <a:pPr marL="45720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his would make generating the free configuration space map (which A* and RRT rely on) a computationally intensive </a:t>
            </a:r>
            <a:r>
              <a:rPr lang="en-US" sz="1600" b="0" dirty="0" err="1">
                <a:latin typeface="Calibri" panose="020F0502020204030204" pitchFamily="34" charset="0"/>
                <a:cs typeface="Calibri" panose="020F0502020204030204" pitchFamily="34" charset="0"/>
              </a:rPr>
              <a:t>exercisex</a:t>
            </a:r>
            <a:endParaRPr lang="en-US" sz="1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0429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309096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closed loop PID control vs adaptive control methods</a:t>
            </a:r>
          </a:p>
        </p:txBody>
      </p:sp>
      <p:sp>
        <p:nvSpPr>
          <p:cNvPr id="13" name="TextBox 12">
            <a:extLst>
              <a:ext uri="{FF2B5EF4-FFF2-40B4-BE49-F238E27FC236}">
                <a16:creationId xmlns:a16="http://schemas.microsoft.com/office/drawing/2014/main" id="{7C0BFC82-2AAA-66AB-66D0-55729A66298F}"/>
              </a:ext>
            </a:extLst>
          </p:cNvPr>
          <p:cNvSpPr txBox="1"/>
          <p:nvPr/>
        </p:nvSpPr>
        <p:spPr>
          <a:xfrm>
            <a:off x="346074" y="1007031"/>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grpSp>
        <p:nvGrpSpPr>
          <p:cNvPr id="14" name="Group 13">
            <a:extLst>
              <a:ext uri="{FF2B5EF4-FFF2-40B4-BE49-F238E27FC236}">
                <a16:creationId xmlns:a16="http://schemas.microsoft.com/office/drawing/2014/main" id="{F7A59A0D-E30F-0255-4360-5253DBE1396A}"/>
              </a:ext>
            </a:extLst>
          </p:cNvPr>
          <p:cNvGrpSpPr/>
          <p:nvPr/>
        </p:nvGrpSpPr>
        <p:grpSpPr>
          <a:xfrm>
            <a:off x="-2921921" y="8665491"/>
            <a:ext cx="23511390" cy="8049967"/>
            <a:chOff x="-8327265" y="5657247"/>
            <a:chExt cx="23511390" cy="8049967"/>
          </a:xfrm>
        </p:grpSpPr>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762000" y="5743356"/>
              <a:ext cx="7338547" cy="7963857"/>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8327265" y="5657247"/>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6567020" y="5657247"/>
              <a:ext cx="8617105" cy="4694784"/>
            </a:xfrm>
            <a:prstGeom prst="rect">
              <a:avLst/>
            </a:prstGeom>
          </p:spPr>
        </p:pic>
        <p:pic>
          <p:nvPicPr>
            <p:cNvPr id="15" name="Picture 14">
              <a:extLst>
                <a:ext uri="{FF2B5EF4-FFF2-40B4-BE49-F238E27FC236}">
                  <a16:creationId xmlns:a16="http://schemas.microsoft.com/office/drawing/2014/main" id="{FB219AAF-5F10-91C5-D6FD-44D47936A1B5}"/>
                </a:ext>
              </a:extLst>
            </p:cNvPr>
            <p:cNvPicPr>
              <a:picLocks noChangeAspect="1"/>
            </p:cNvPicPr>
            <p:nvPr/>
          </p:nvPicPr>
          <p:blipFill>
            <a:blip r:embed="rId8"/>
            <a:stretch>
              <a:fillRect/>
            </a:stretch>
          </p:blipFill>
          <p:spPr>
            <a:xfrm>
              <a:off x="-7916871" y="8996656"/>
              <a:ext cx="7163038" cy="4710558"/>
            </a:xfrm>
            <a:prstGeom prst="rect">
              <a:avLst/>
            </a:prstGeom>
          </p:spPr>
        </p:pic>
      </p:grpSp>
      <p:sp>
        <p:nvSpPr>
          <p:cNvPr id="11" name="TextBox 10">
            <a:extLst>
              <a:ext uri="{FF2B5EF4-FFF2-40B4-BE49-F238E27FC236}">
                <a16:creationId xmlns:a16="http://schemas.microsoft.com/office/drawing/2014/main" id="{A28E141E-87E8-3644-E504-C489245EF0BC}"/>
              </a:ext>
            </a:extLst>
          </p:cNvPr>
          <p:cNvSpPr txBox="1"/>
          <p:nvPr/>
        </p:nvSpPr>
        <p:spPr>
          <a:xfrm>
            <a:off x="-4726241" y="3839375"/>
            <a:ext cx="3608641" cy="1477328"/>
          </a:xfrm>
          <a:prstGeom prst="rect">
            <a:avLst/>
          </a:prstGeom>
          <a:noFill/>
        </p:spPr>
        <p:txBody>
          <a:bodyPr wrap="square">
            <a:spAutoFit/>
          </a:bodyPr>
          <a:lstStyle/>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1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Key risks with this approach</a:t>
            </a:r>
          </a:p>
        </p:txBody>
      </p:sp>
      <p:graphicFrame>
        <p:nvGraphicFramePr>
          <p:cNvPr id="12" name="Table 13">
            <a:extLst>
              <a:ext uri="{FF2B5EF4-FFF2-40B4-BE49-F238E27FC236}">
                <a16:creationId xmlns:a16="http://schemas.microsoft.com/office/drawing/2014/main" id="{E7FADF18-DD76-1C0B-D4E3-57077A011D1F}"/>
              </a:ext>
            </a:extLst>
          </p:cNvPr>
          <p:cNvGraphicFramePr>
            <a:graphicFrameLocks noGrp="1"/>
          </p:cNvGraphicFramePr>
          <p:nvPr>
            <p:extLst>
              <p:ext uri="{D42A27DB-BD31-4B8C-83A1-F6EECF244321}">
                <p14:modId xmlns:p14="http://schemas.microsoft.com/office/powerpoint/2010/main" val="3365098110"/>
              </p:ext>
            </p:extLst>
          </p:nvPr>
        </p:nvGraphicFramePr>
        <p:xfrm>
          <a:off x="384174" y="1670024"/>
          <a:ext cx="11439526" cy="4280771"/>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sz="1600" dirty="0">
                          <a:latin typeface="Calibri" panose="020F0502020204030204" pitchFamily="34" charset="0"/>
                          <a:cs typeface="Calibri" panose="020F0502020204030204" pitchFamily="34" charset="0"/>
                        </a:rPr>
                        <a:t>Control System</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ID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itial setup only involves gain tuning for every control variable (can be semi-automated)</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ght compute load vs adaptive controller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Gain-scheduling can help controller work for different state-space region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ains are good for small region of state-space and system is unstable outside this region</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tegrator wind-up occurs when large change in setpoint occurs, resulting in severe overshoot</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Optimal control / stability not guarantee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Model Predictive Control (MP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es optimal control trajectory using linear approximation of system + recomputes when approximation is unlikely to be accurat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enerating system model for our robot might be difficult given anatomical constraint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In general, this approach is sensitive to model inaccuracies and tuning of the cost func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Linear Quadratic Regulator (LQ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inds optimal control input for linear systems</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Handles constraints on control inputs and stat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Just like in MPC, generating system model for our use case might be challenging</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nearization of nonlinear systems leads to significant performance degrada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Tree>
    <p:extLst>
      <p:ext uri="{BB962C8B-B14F-4D97-AF65-F5344CB8AC3E}">
        <p14:creationId xmlns:p14="http://schemas.microsoft.com/office/powerpoint/2010/main" val="4225745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7961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Broader surgical robotics issues which might require special consideration when designing our system</a:t>
            </a:r>
          </a:p>
        </p:txBody>
      </p:sp>
      <p:sp>
        <p:nvSpPr>
          <p:cNvPr id="13" name="TextBox 12">
            <a:extLst>
              <a:ext uri="{FF2B5EF4-FFF2-40B4-BE49-F238E27FC236}">
                <a16:creationId xmlns:a16="http://schemas.microsoft.com/office/drawing/2014/main" id="{7C0BFC82-2AAA-66AB-66D0-55729A66298F}"/>
              </a:ext>
            </a:extLst>
          </p:cNvPr>
          <p:cNvSpPr txBox="1"/>
          <p:nvPr/>
        </p:nvSpPr>
        <p:spPr>
          <a:xfrm>
            <a:off x="0" y="6955793"/>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
        <p:nvSpPr>
          <p:cNvPr id="24" name="Rectangle 23">
            <a:extLst>
              <a:ext uri="{FF2B5EF4-FFF2-40B4-BE49-F238E27FC236}">
                <a16:creationId xmlns:a16="http://schemas.microsoft.com/office/drawing/2014/main" id="{69526FE7-34E2-0B88-DA78-E97EE930941A}"/>
              </a:ext>
            </a:extLst>
          </p:cNvPr>
          <p:cNvSpPr/>
          <p:nvPr/>
        </p:nvSpPr>
        <p:spPr>
          <a:xfrm>
            <a:off x="384174" y="1517506"/>
            <a:ext cx="5711826"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Motion canceling in medical interventions</a:t>
            </a:r>
          </a:p>
        </p:txBody>
      </p:sp>
      <p:sp>
        <p:nvSpPr>
          <p:cNvPr id="25" name="Rectangle 24">
            <a:extLst>
              <a:ext uri="{FF2B5EF4-FFF2-40B4-BE49-F238E27FC236}">
                <a16:creationId xmlns:a16="http://schemas.microsoft.com/office/drawing/2014/main" id="{5F1C5371-5BEB-65F3-5F47-B605C394D8AC}"/>
              </a:ext>
            </a:extLst>
          </p:cNvPr>
          <p:cNvSpPr/>
          <p:nvPr/>
        </p:nvSpPr>
        <p:spPr>
          <a:xfrm>
            <a:off x="6180136" y="1517506"/>
            <a:ext cx="5640389"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lanning for deformable tissues</a:t>
            </a:r>
          </a:p>
        </p:txBody>
      </p:sp>
      <p:sp>
        <p:nvSpPr>
          <p:cNvPr id="26" name="Footer Placeholder 4">
            <a:extLst>
              <a:ext uri="{FF2B5EF4-FFF2-40B4-BE49-F238E27FC236}">
                <a16:creationId xmlns:a16="http://schemas.microsoft.com/office/drawing/2014/main" id="{ADF97203-4F50-540B-9F4E-C5809A011A5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27" name="Marcador de texto 3">
            <a:extLst>
              <a:ext uri="{FF2B5EF4-FFF2-40B4-BE49-F238E27FC236}">
                <a16:creationId xmlns:a16="http://schemas.microsoft.com/office/drawing/2014/main" id="{5DD065B9-E7BF-35F4-D37A-5A5905BA042C}"/>
              </a:ext>
            </a:extLst>
          </p:cNvPr>
          <p:cNvSpPr txBox="1">
            <a:spLocks/>
          </p:cNvSpPr>
          <p:nvPr/>
        </p:nvSpPr>
        <p:spPr>
          <a:xfrm>
            <a:off x="371475" y="2061735"/>
            <a:ext cx="5610225" cy="4708525"/>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odel-Based Active Relative Motion Cancelation is required during coronary artery bypass graft (CABG) surgery. The tools need to track and manipulate a fast-moving target with very high precision. During free beating, individual points on the heart move as much as 7–10mm. Although the dominant mode of heart motion is on the order of 1–2 Hz</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Query whether movement in the human brain may require a similar motion canceling solution to ensure smooth and predictable mobility of our robot</a:t>
            </a:r>
          </a:p>
          <a:p>
            <a:pPr marL="285750" indent="-285750">
              <a:spcAft>
                <a:spcPts val="600"/>
              </a:spcAft>
              <a:buFont typeface="Arial" panose="020B0604020202020204" pitchFamily="34" charset="0"/>
              <a:buChar char="•"/>
            </a:pPr>
            <a:endParaRPr lang="en-US" sz="1600" b="0" dirty="0">
              <a:latin typeface="Calibri" panose="020F0502020204030204" pitchFamily="34" charset="0"/>
              <a:cs typeface="Calibri" panose="020F0502020204030204" pitchFamily="34" charset="0"/>
            </a:endParaRPr>
          </a:p>
        </p:txBody>
      </p:sp>
      <p:sp>
        <p:nvSpPr>
          <p:cNvPr id="28" name="Marcador de texto 3">
            <a:extLst>
              <a:ext uri="{FF2B5EF4-FFF2-40B4-BE49-F238E27FC236}">
                <a16:creationId xmlns:a16="http://schemas.microsoft.com/office/drawing/2014/main" id="{56F80D20-AF22-C0FF-EB2D-27C006767DFE}"/>
              </a:ext>
            </a:extLst>
          </p:cNvPr>
          <p:cNvSpPr txBox="1">
            <a:spLocks/>
          </p:cNvSpPr>
          <p:nvPr/>
        </p:nvSpPr>
        <p:spPr>
          <a:xfrm>
            <a:off x="6221039" y="2061735"/>
            <a:ext cx="5610225" cy="4347703"/>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Inserting needles into soft tissues causes surrounding tissues to displace and deform. Ignoring these deformations can result in substantial placement error</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Query if this is relevant for our use case where the robot may interact with soft tissues in the brain</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Perhaps formulating the problem as a Partially Observable Markov Decision Process (POMDP) might be helpful, since these can be solved to yield optimal control policies under uncertainty </a:t>
            </a:r>
          </a:p>
        </p:txBody>
      </p:sp>
      <p:pic>
        <p:nvPicPr>
          <p:cNvPr id="30" name="Picture 29">
            <a:extLst>
              <a:ext uri="{FF2B5EF4-FFF2-40B4-BE49-F238E27FC236}">
                <a16:creationId xmlns:a16="http://schemas.microsoft.com/office/drawing/2014/main" id="{6C66224A-BA2E-E97D-9E21-145A8D3CDE27}"/>
              </a:ext>
            </a:extLst>
          </p:cNvPr>
          <p:cNvPicPr>
            <a:picLocks noChangeAspect="1"/>
          </p:cNvPicPr>
          <p:nvPr/>
        </p:nvPicPr>
        <p:blipFill>
          <a:blip r:embed="rId5"/>
          <a:stretch>
            <a:fillRect/>
          </a:stretch>
        </p:blipFill>
        <p:spPr>
          <a:xfrm>
            <a:off x="880340" y="4450526"/>
            <a:ext cx="4363513" cy="1856253"/>
          </a:xfrm>
          <a:prstGeom prst="rect">
            <a:avLst/>
          </a:prstGeom>
        </p:spPr>
      </p:pic>
      <p:pic>
        <p:nvPicPr>
          <p:cNvPr id="32" name="Picture 31">
            <a:extLst>
              <a:ext uri="{FF2B5EF4-FFF2-40B4-BE49-F238E27FC236}">
                <a16:creationId xmlns:a16="http://schemas.microsoft.com/office/drawing/2014/main" id="{BA2D3E17-C713-AF31-28A5-D25718E19BD1}"/>
              </a:ext>
            </a:extLst>
          </p:cNvPr>
          <p:cNvPicPr>
            <a:picLocks noChangeAspect="1"/>
          </p:cNvPicPr>
          <p:nvPr/>
        </p:nvPicPr>
        <p:blipFill>
          <a:blip r:embed="rId6"/>
          <a:stretch>
            <a:fillRect/>
          </a:stretch>
        </p:blipFill>
        <p:spPr>
          <a:xfrm>
            <a:off x="6987710" y="4342997"/>
            <a:ext cx="3986311" cy="2113327"/>
          </a:xfrm>
          <a:prstGeom prst="rect">
            <a:avLst/>
          </a:prstGeom>
        </p:spPr>
      </p:pic>
    </p:spTree>
    <p:extLst>
      <p:ext uri="{BB962C8B-B14F-4D97-AF65-F5344CB8AC3E}">
        <p14:creationId xmlns:p14="http://schemas.microsoft.com/office/powerpoint/2010/main" val="1646586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5244430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5</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2"/>
            <a:ext cx="9489218"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ppendix</a:t>
            </a:r>
          </a:p>
        </p:txBody>
      </p:sp>
    </p:spTree>
    <p:extLst>
      <p:ext uri="{BB962C8B-B14F-4D97-AF65-F5344CB8AC3E}">
        <p14:creationId xmlns:p14="http://schemas.microsoft.com/office/powerpoint/2010/main" val="331595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0353492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SLAM using onboard sensor data [if possible to have onboard odometry]</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070061"/>
            <a:ext cx="11449050" cy="4787900"/>
          </a:xfrm>
        </p:spPr>
        <p:txBody>
          <a:bodyPr/>
          <a:lstStyle/>
          <a:p>
            <a:r>
              <a:rPr lang="en-US" dirty="0">
                <a:latin typeface="Arial" panose="020B0604020202020204" pitchFamily="34" charset="0"/>
                <a:cs typeface="Arial" panose="020B0604020202020204" pitchFamily="34" charset="0"/>
              </a:rPr>
              <a:t>Pseudocode for SLAM:</a:t>
            </a:r>
          </a:p>
          <a:p>
            <a:pPr marL="400050" indent="-400050">
              <a:buFont typeface="+mj-lt"/>
              <a:buAutoNum type="romanUcPeriod"/>
            </a:pPr>
            <a:r>
              <a:rPr lang="en-US" b="0" dirty="0">
                <a:latin typeface="Calibri" panose="020F0502020204030204" pitchFamily="34" charset="0"/>
                <a:cs typeface="Calibri" panose="020F0502020204030204" pitchFamily="34" charset="0"/>
              </a:rPr>
              <a:t>Image acquisition: X-ray images of the environment are captured using an x-ray sensor.</a:t>
            </a:r>
          </a:p>
          <a:p>
            <a:pPr marL="400050" indent="-400050">
              <a:buFont typeface="+mj-lt"/>
              <a:buAutoNum type="romanUcPeriod"/>
            </a:pPr>
            <a:r>
              <a:rPr lang="en-US" b="0" dirty="0">
                <a:latin typeface="Calibri" panose="020F0502020204030204" pitchFamily="34" charset="0"/>
                <a:cs typeface="Calibri" panose="020F0502020204030204" pitchFamily="34" charset="0"/>
              </a:rPr>
              <a:t>Feature detection and extraction: Features, such as edges or corners, are detected and extracted from the x-ray images.</a:t>
            </a:r>
          </a:p>
          <a:p>
            <a:pPr marL="400050" indent="-400050">
              <a:buFont typeface="+mj-lt"/>
              <a:buAutoNum type="romanUcPeriod"/>
            </a:pPr>
            <a:r>
              <a:rPr lang="en-US" b="0" dirty="0">
                <a:latin typeface="Calibri" panose="020F0502020204030204" pitchFamily="34" charset="0"/>
                <a:cs typeface="Calibri" panose="020F0502020204030204" pitchFamily="34" charset="0"/>
              </a:rPr>
              <a:t>Feature matching: Features from consecutive x-ray images are matched to determine the motion of the sensor.</a:t>
            </a:r>
          </a:p>
          <a:p>
            <a:pPr marL="400050" indent="-400050">
              <a:buFont typeface="+mj-lt"/>
              <a:buAutoNum type="romanUcPeriod"/>
            </a:pPr>
            <a:r>
              <a:rPr lang="en-US" b="0" dirty="0">
                <a:latin typeface="Calibri" panose="020F0502020204030204" pitchFamily="34" charset="0"/>
                <a:cs typeface="Calibri" panose="020F0502020204030204" pitchFamily="34" charset="0"/>
              </a:rPr>
              <a:t>Pose estimation: The sensor's motion is used to estimate its position and orientation within the environment.</a:t>
            </a:r>
          </a:p>
          <a:p>
            <a:pPr marL="400050" indent="-400050">
              <a:buFont typeface="+mj-lt"/>
              <a:buAutoNum type="romanUcPeriod"/>
            </a:pPr>
            <a:r>
              <a:rPr lang="en-US" b="0" dirty="0">
                <a:latin typeface="Calibri" panose="020F0502020204030204" pitchFamily="34" charset="0"/>
                <a:cs typeface="Calibri" panose="020F0502020204030204" pitchFamily="34" charset="0"/>
              </a:rPr>
              <a:t>Map building: The sensor's position and orientation, along with the features extracted from the x-ray images, are used to build a map of the environment.</a:t>
            </a:r>
          </a:p>
          <a:p>
            <a:pPr marL="400050" indent="-400050">
              <a:buFont typeface="+mj-lt"/>
              <a:buAutoNum type="romanUcPeriod"/>
            </a:pPr>
            <a:r>
              <a:rPr lang="en-US" b="0" dirty="0">
                <a:latin typeface="Calibri" panose="020F0502020204030204" pitchFamily="34" charset="0"/>
                <a:cs typeface="Calibri" panose="020F0502020204030204" pitchFamily="34" charset="0"/>
              </a:rPr>
              <a:t>Loop closure: When the sensor revisits an area, loop closures are detected and used to refine the map and sensor's position.</a:t>
            </a:r>
          </a:p>
          <a:p>
            <a:r>
              <a:rPr lang="en-US" b="0" dirty="0">
                <a:latin typeface="Calibri" panose="020F0502020204030204" pitchFamily="34" charset="0"/>
                <a:cs typeface="Calibri" panose="020F0502020204030204" pitchFamily="34" charset="0"/>
              </a:rPr>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41291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1253527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latin typeface="Arial" panose="020B0604020202020204" pitchFamily="34" charset="0"/>
                <a:cs typeface="Arial" panose="020B0604020202020204" pitchFamily="34" charset="0"/>
              </a:rPr>
              <a:t>Outlin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ssumed Inputs for localization and navig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roposed methodology for</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a) Localiz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b) Path Planning</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c) Trajectory Gener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d) Control Syste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Design Criteria and Key Risks</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ppendix</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352163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Alternatives to 5</a:t>
            </a:r>
            <a:r>
              <a:rPr lang="en-US" baseline="30000" dirty="0">
                <a:latin typeface="Arial" panose="020B0604020202020204" pitchFamily="34" charset="0"/>
                <a:cs typeface="Arial" panose="020B0604020202020204" pitchFamily="34" charset="0"/>
              </a:rPr>
              <a:t>th</a:t>
            </a:r>
            <a:r>
              <a:rPr lang="en-US" dirty="0">
                <a:latin typeface="Arial" panose="020B0604020202020204" pitchFamily="34" charset="0"/>
                <a:cs typeface="Arial" panose="020B0604020202020204" pitchFamily="34" charset="0"/>
              </a:rPr>
              <a:t> degree polynomial-based trajectory generation (Cubic polynomial, Minimum-time trajectory)</a:t>
            </a:r>
          </a:p>
        </p:txBody>
      </p:sp>
      <p:grpSp>
        <p:nvGrpSpPr>
          <p:cNvPr id="21" name="Group 20">
            <a:extLst>
              <a:ext uri="{FF2B5EF4-FFF2-40B4-BE49-F238E27FC236}">
                <a16:creationId xmlns:a16="http://schemas.microsoft.com/office/drawing/2014/main" id="{3F92F171-9072-7794-60E1-EF188F76764B}"/>
              </a:ext>
            </a:extLst>
          </p:cNvPr>
          <p:cNvGrpSpPr/>
          <p:nvPr/>
        </p:nvGrpSpPr>
        <p:grpSpPr>
          <a:xfrm>
            <a:off x="487205" y="1623771"/>
            <a:ext cx="5001323" cy="4229977"/>
            <a:chOff x="90138" y="1110430"/>
            <a:chExt cx="5001323" cy="4229977"/>
          </a:xfrm>
        </p:grpSpPr>
        <p:pic>
          <p:nvPicPr>
            <p:cNvPr id="22" name="Picture 21">
              <a:extLst>
                <a:ext uri="{FF2B5EF4-FFF2-40B4-BE49-F238E27FC236}">
                  <a16:creationId xmlns:a16="http://schemas.microsoft.com/office/drawing/2014/main" id="{D1345B0E-5A80-1CB6-F881-01B989CD7517}"/>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3" name="Picture 22">
              <a:extLst>
                <a:ext uri="{FF2B5EF4-FFF2-40B4-BE49-F238E27FC236}">
                  <a16:creationId xmlns:a16="http://schemas.microsoft.com/office/drawing/2014/main" id="{E6CA5CE2-961F-2563-6B8A-DF1FB95F1D96}"/>
                </a:ext>
              </a:extLst>
            </p:cNvPr>
            <p:cNvPicPr>
              <a:picLocks noChangeAspect="1"/>
            </p:cNvPicPr>
            <p:nvPr/>
          </p:nvPicPr>
          <p:blipFill>
            <a:blip r:embed="rId6"/>
            <a:stretch>
              <a:fillRect/>
            </a:stretch>
          </p:blipFill>
          <p:spPr>
            <a:xfrm>
              <a:off x="152270" y="4787880"/>
              <a:ext cx="3534268" cy="552527"/>
            </a:xfrm>
            <a:prstGeom prst="rect">
              <a:avLst/>
            </a:prstGeom>
          </p:spPr>
        </p:pic>
      </p:grpSp>
      <p:grpSp>
        <p:nvGrpSpPr>
          <p:cNvPr id="17" name="Group 16">
            <a:extLst>
              <a:ext uri="{FF2B5EF4-FFF2-40B4-BE49-F238E27FC236}">
                <a16:creationId xmlns:a16="http://schemas.microsoft.com/office/drawing/2014/main" id="{8666ABD1-108B-E23C-4442-E77437077196}"/>
              </a:ext>
            </a:extLst>
          </p:cNvPr>
          <p:cNvGrpSpPr/>
          <p:nvPr/>
        </p:nvGrpSpPr>
        <p:grpSpPr>
          <a:xfrm>
            <a:off x="6369349" y="1716327"/>
            <a:ext cx="5234453" cy="3700803"/>
            <a:chOff x="6369349" y="2386028"/>
            <a:chExt cx="5234453" cy="3700803"/>
          </a:xfrm>
        </p:grpSpPr>
        <p:pic>
          <p:nvPicPr>
            <p:cNvPr id="26" name="Picture 25">
              <a:extLst>
                <a:ext uri="{FF2B5EF4-FFF2-40B4-BE49-F238E27FC236}">
                  <a16:creationId xmlns:a16="http://schemas.microsoft.com/office/drawing/2014/main" id="{2B5C273D-F0B4-789E-87C2-6D06460AB889}"/>
                </a:ext>
              </a:extLst>
            </p:cNvPr>
            <p:cNvPicPr>
              <a:picLocks noChangeAspect="1"/>
            </p:cNvPicPr>
            <p:nvPr/>
          </p:nvPicPr>
          <p:blipFill rotWithShape="1">
            <a:blip r:embed="rId7"/>
            <a:srcRect b="69747"/>
            <a:stretch/>
          </p:blipFill>
          <p:spPr>
            <a:xfrm>
              <a:off x="6382229" y="2386028"/>
              <a:ext cx="5221573" cy="1606424"/>
            </a:xfrm>
            <a:prstGeom prst="rect">
              <a:avLst/>
            </a:prstGeom>
          </p:spPr>
        </p:pic>
        <p:pic>
          <p:nvPicPr>
            <p:cNvPr id="28" name="Picture 27">
              <a:extLst>
                <a:ext uri="{FF2B5EF4-FFF2-40B4-BE49-F238E27FC236}">
                  <a16:creationId xmlns:a16="http://schemas.microsoft.com/office/drawing/2014/main" id="{E8A4C52B-7CCE-3012-49B7-F658D93F8873}"/>
                </a:ext>
              </a:extLst>
            </p:cNvPr>
            <p:cNvPicPr>
              <a:picLocks noChangeAspect="1"/>
            </p:cNvPicPr>
            <p:nvPr/>
          </p:nvPicPr>
          <p:blipFill>
            <a:blip r:embed="rId8"/>
            <a:stretch>
              <a:fillRect/>
            </a:stretch>
          </p:blipFill>
          <p:spPr>
            <a:xfrm>
              <a:off x="6369349" y="4004615"/>
              <a:ext cx="5172567" cy="2082216"/>
            </a:xfrm>
            <a:prstGeom prst="rect">
              <a:avLst/>
            </a:prstGeom>
          </p:spPr>
        </p:pic>
      </p:grpSp>
      <p:sp>
        <p:nvSpPr>
          <p:cNvPr id="6" name="Footer Placeholder 4">
            <a:extLst>
              <a:ext uri="{FF2B5EF4-FFF2-40B4-BE49-F238E27FC236}">
                <a16:creationId xmlns:a16="http://schemas.microsoft.com/office/drawing/2014/main" id="{3BA1FDA8-E1B2-6FBA-B49A-0C29A2338185}"/>
              </a:ext>
            </a:extLst>
          </p:cNvPr>
          <p:cNvSpPr txBox="1">
            <a:spLocks/>
          </p:cNvSpPr>
          <p:nvPr/>
        </p:nvSpPr>
        <p:spPr>
          <a:xfrm>
            <a:off x="349348" y="6365036"/>
            <a:ext cx="11244859" cy="312964"/>
          </a:xfrm>
          <a:prstGeom prst="rect">
            <a:avLst/>
          </a:prstGeom>
        </p:spPr>
        <p:txBody>
          <a:bodyPr vert="horz" lIns="91440" tIns="45720" rIns="91440" bIns="45720" rtlCol="0" anchor="ct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latin typeface="Calibri" panose="020F0502020204030204" pitchFamily="34" charset="0"/>
                <a:cs typeface="Calibri" panose="020F0502020204030204" pitchFamily="34" charset="0"/>
              </a:rPr>
              <a:t>Source: Robot Modeling and Control (Spong, Hutchinson, Vidyasagar)</a:t>
            </a:r>
          </a:p>
          <a:p>
            <a:endParaRPr lang="en-US" sz="12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82851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9881883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eper Dive into PID control and potential stability considerations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7111" y="6344472"/>
            <a:ext cx="5847522" cy="240681"/>
          </a:xfrm>
        </p:spPr>
        <p:txBody>
          <a:bodyPr/>
          <a:lstStyle/>
          <a:p>
            <a:r>
              <a:rPr lang="en-US" sz="1100" dirty="0">
                <a:latin typeface="Calibri" panose="020F0502020204030204" pitchFamily="34" charset="0"/>
                <a:cs typeface="Calibri" panose="020F0502020204030204" pitchFamily="34" charset="0"/>
              </a:rPr>
              <a:t>Source: Feedback Control of Dynamic Systems (Franklin, Powell, </a:t>
            </a:r>
            <a:r>
              <a:rPr lang="en-US" sz="1100" dirty="0" err="1">
                <a:latin typeface="Calibri" panose="020F0502020204030204" pitchFamily="34" charset="0"/>
                <a:cs typeface="Calibri" panose="020F0502020204030204" pitchFamily="34" charset="0"/>
              </a:rPr>
              <a:t>Emami-Naeni</a:t>
            </a:r>
            <a:r>
              <a:rPr lang="en-US" sz="1100" dirty="0">
                <a:latin typeface="Calibri" panose="020F0502020204030204" pitchFamily="34" charset="0"/>
                <a:cs typeface="Calibri" panose="020F0502020204030204" pitchFamily="34" charset="0"/>
              </a:rPr>
              <a:t>)</a:t>
            </a:r>
          </a:p>
        </p:txBody>
      </p:sp>
      <p:pic>
        <p:nvPicPr>
          <p:cNvPr id="12" name="Picture 11">
            <a:extLst>
              <a:ext uri="{FF2B5EF4-FFF2-40B4-BE49-F238E27FC236}">
                <a16:creationId xmlns:a16="http://schemas.microsoft.com/office/drawing/2014/main" id="{C45FC9DE-73A6-947D-2484-26DE2BC428BE}"/>
              </a:ext>
            </a:extLst>
          </p:cNvPr>
          <p:cNvPicPr>
            <a:picLocks noChangeAspect="1"/>
          </p:cNvPicPr>
          <p:nvPr/>
        </p:nvPicPr>
        <p:blipFill>
          <a:blip r:embed="rId5"/>
          <a:stretch>
            <a:fillRect/>
          </a:stretch>
        </p:blipFill>
        <p:spPr>
          <a:xfrm>
            <a:off x="371475" y="1155915"/>
            <a:ext cx="5106113" cy="3410426"/>
          </a:xfrm>
          <a:prstGeom prst="rect">
            <a:avLst/>
          </a:prstGeom>
        </p:spPr>
      </p:pic>
      <p:pic>
        <p:nvPicPr>
          <p:cNvPr id="13" name="Picture 12">
            <a:extLst>
              <a:ext uri="{FF2B5EF4-FFF2-40B4-BE49-F238E27FC236}">
                <a16:creationId xmlns:a16="http://schemas.microsoft.com/office/drawing/2014/main" id="{7639C225-8581-4BB9-6F3B-615ED8FA72F0}"/>
              </a:ext>
            </a:extLst>
          </p:cNvPr>
          <p:cNvPicPr>
            <a:picLocks noChangeAspect="1"/>
          </p:cNvPicPr>
          <p:nvPr/>
        </p:nvPicPr>
        <p:blipFill>
          <a:blip r:embed="rId6"/>
          <a:stretch>
            <a:fillRect/>
          </a:stretch>
        </p:blipFill>
        <p:spPr>
          <a:xfrm>
            <a:off x="5544357" y="1520825"/>
            <a:ext cx="6276168" cy="2089420"/>
          </a:xfrm>
          <a:prstGeom prst="rect">
            <a:avLst/>
          </a:prstGeom>
        </p:spPr>
      </p:pic>
      <p:pic>
        <p:nvPicPr>
          <p:cNvPr id="15" name="Picture 14">
            <a:extLst>
              <a:ext uri="{FF2B5EF4-FFF2-40B4-BE49-F238E27FC236}">
                <a16:creationId xmlns:a16="http://schemas.microsoft.com/office/drawing/2014/main" id="{6FC121BA-CA47-B67F-10F6-9A05BB1EA32F}"/>
              </a:ext>
            </a:extLst>
          </p:cNvPr>
          <p:cNvPicPr>
            <a:picLocks noChangeAspect="1"/>
          </p:cNvPicPr>
          <p:nvPr/>
        </p:nvPicPr>
        <p:blipFill>
          <a:blip r:embed="rId7"/>
          <a:stretch>
            <a:fillRect/>
          </a:stretch>
        </p:blipFill>
        <p:spPr>
          <a:xfrm>
            <a:off x="5661763" y="3813751"/>
            <a:ext cx="5744377" cy="2133898"/>
          </a:xfrm>
          <a:prstGeom prst="rect">
            <a:avLst/>
          </a:prstGeom>
        </p:spPr>
      </p:pic>
    </p:spTree>
    <p:extLst>
      <p:ext uri="{BB962C8B-B14F-4D97-AF65-F5344CB8AC3E}">
        <p14:creationId xmlns:p14="http://schemas.microsoft.com/office/powerpoint/2010/main" val="31811458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026432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1</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4"/>
            <a:ext cx="8162925"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ssumed Inputs for localization and navigation </a:t>
            </a:r>
          </a:p>
          <a:p>
            <a:endPar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306940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latin typeface="Arial" panose="020B0604020202020204" pitchFamily="34" charset="0"/>
                <a:cs typeface="Arial" panose="020B0604020202020204" pitchFamily="34" charset="0"/>
              </a:rPr>
              <a:t>Assuming access to an intraoperative MRI feed / fluoroscop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383216" y="64095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sz="1100" dirty="0">
                <a:latin typeface="Calibri" panose="020F0502020204030204" pitchFamily="34" charset="0"/>
                <a:cs typeface="Calibri" panose="020F0502020204030204" pitchFamily="34" charset="0"/>
              </a:rPr>
              <a:t>Source: Intraoperative MRI-assisted neuro-port surgery for the resection of cerebral intraparenchymal cavernous malformation</a:t>
            </a:r>
            <a:r>
              <a:rPr lang="en-US" sz="1100" i="1" dirty="0">
                <a:latin typeface="Calibri" panose="020F0502020204030204" pitchFamily="34" charset="0"/>
                <a:cs typeface="Calibri" panose="020F0502020204030204" pitchFamily="34" charset="0"/>
              </a:rPr>
              <a:t> (</a:t>
            </a:r>
            <a:r>
              <a:rPr lang="en-US" sz="1100" i="1" dirty="0">
                <a:latin typeface="Calibri" panose="020F0502020204030204" pitchFamily="34" charset="0"/>
                <a:cs typeface="Calibri" panose="020F0502020204030204" pitchFamily="34" charset="0"/>
                <a:hlinkClick r:id="rId9"/>
              </a:rPr>
              <a:t>Chinese Neurological Journal</a:t>
            </a:r>
            <a:r>
              <a:rPr lang="en-US" sz="1100" i="1" dirty="0">
                <a:latin typeface="Calibri" panose="020F0502020204030204" pitchFamily="34" charset="0"/>
                <a:cs typeface="Calibri" panose="020F0502020204030204" pitchFamily="34" charset="0"/>
              </a:rPr>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466101" y="2828925"/>
            <a:ext cx="4689392" cy="297044"/>
          </a:xfrm>
          <a:prstGeom prst="rect">
            <a:avLst/>
          </a:prstGeom>
          <a:noFill/>
        </p:spPr>
        <p:txBody>
          <a:bodyPr wrap="square" lIns="0" tIns="0" rIns="0" bIns="0" rtlCol="0">
            <a:noAutofit/>
          </a:bodyPr>
          <a:lstStyle/>
          <a:p>
            <a:pPr algn="l"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1 </a:t>
            </a:r>
            <a:r>
              <a:rPr lang="en-US" sz="1200" noProof="0" dirty="0">
                <a:latin typeface="Calibri" panose="020F0502020204030204" pitchFamily="34" charset="0"/>
                <a:cs typeface="Calibri" panose="020F0502020204030204" pitchFamily="34" charset="0"/>
              </a:rPr>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2 </a:t>
            </a:r>
            <a:r>
              <a:rPr lang="en-US" sz="1200" noProof="0" dirty="0">
                <a:latin typeface="Calibri" panose="020F0502020204030204" pitchFamily="34" charset="0"/>
                <a:cs typeface="Calibri" panose="020F0502020204030204" pitchFamily="34" charset="0"/>
              </a:rPr>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4 </a:t>
            </a:r>
            <a:r>
              <a:rPr lang="en-US" sz="1200" noProof="0" dirty="0">
                <a:latin typeface="Calibri" panose="020F0502020204030204" pitchFamily="34" charset="0"/>
                <a:cs typeface="Calibri" panose="020F0502020204030204" pitchFamily="34" charset="0"/>
              </a:rPr>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3 </a:t>
            </a:r>
            <a:r>
              <a:rPr lang="en-US" sz="1200" noProof="0" dirty="0">
                <a:latin typeface="Calibri" panose="020F0502020204030204" pitchFamily="34" charset="0"/>
                <a:cs typeface="Calibri" panose="020F0502020204030204" pitchFamily="34" charset="0"/>
              </a:rPr>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2</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4"/>
            <a:ext cx="7887001" cy="2864581"/>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roposed methodology for:</a:t>
            </a:r>
          </a:p>
          <a:p>
            <a:r>
              <a:rPr lang="en-US" sz="2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Localization</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b)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ath Planning</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Trajectory Generation</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ontrol System</a:t>
            </a:r>
          </a:p>
          <a:p>
            <a:endPar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334355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signing an occupancy grid schema to keep track of obstacles in the workspace (in-vivo)</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4348371"/>
            <a:ext cx="11449050" cy="2789918"/>
          </a:xfrm>
        </p:spPr>
        <p:txBody>
          <a:body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aintain large occupancy grid for localization + smaller local map for locations of objects in the vicinity of the robot; Using a static state Bayes filter to estimate the state of each cell in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Have non-interruptible threads constantly parsing the image stream to refresh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Latency of occupancy map update loop needs to be lower than frequency of image stream updates </a:t>
            </a:r>
          </a:p>
          <a:p>
            <a:pPr marL="514304" lvl="1" indent="-285750">
              <a:spcAft>
                <a:spcPts val="600"/>
              </a:spcAft>
            </a:pPr>
            <a:r>
              <a:rPr lang="en-US" sz="1600" b="0" dirty="0">
                <a:latin typeface="Calibri" panose="020F0502020204030204" pitchFamily="34" charset="0"/>
                <a:cs typeface="Calibri" panose="020F0502020204030204" pitchFamily="34" charset="0"/>
              </a:rPr>
              <a:t>Ensures control systems using the occupancy map to plan next steps have latest inputs to wor</a:t>
            </a:r>
            <a:r>
              <a:rPr lang="en-US" sz="1600" dirty="0">
                <a:latin typeface="Calibri" panose="020F0502020204030204" pitchFamily="34" charset="0"/>
                <a:cs typeface="Calibri" panose="020F0502020204030204" pitchFamily="34" charset="0"/>
              </a:rPr>
              <a:t>k off</a:t>
            </a:r>
          </a:p>
          <a:p>
            <a:pPr marL="514304" lvl="1" indent="-285750">
              <a:spcAft>
                <a:spcPts val="600"/>
              </a:spcAft>
            </a:pPr>
            <a:r>
              <a:rPr lang="en-US" sz="1600" dirty="0">
                <a:latin typeface="Calibri" panose="020F0502020204030204" pitchFamily="34" charset="0"/>
                <a:cs typeface="Calibri" panose="020F0502020204030204" pitchFamily="34" charset="0"/>
              </a:rPr>
              <a:t>Needs to be enforced as a minimum performance guarantee, and achieved in practice by writing thread parallel code</a:t>
            </a:r>
          </a:p>
          <a:p>
            <a:pPr marL="285750" lvl="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failsafe, control algorithm checks if input is out of date based on some key latency threshold, and halts if so</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extLst>
              <p:ext uri="{D42A27DB-BD31-4B8C-83A1-F6EECF244321}">
                <p14:modId xmlns:p14="http://schemas.microsoft.com/office/powerpoint/2010/main" val="4285072577"/>
              </p:ext>
            </p:extLst>
          </p:nvPr>
        </p:nvGraphicFramePr>
        <p:xfrm>
          <a:off x="384175" y="1715288"/>
          <a:ext cx="7513731" cy="2138964"/>
        </p:xfrm>
        <a:graphic>
          <a:graphicData uri="http://schemas.openxmlformats.org/drawingml/2006/table">
            <a:tbl>
              <a:tblPr firstRow="1" bandRow="1">
                <a:tableStyleId>{69012ECD-51FC-41F1-AA8D-1B2483CD663E}</a:tableStyleId>
              </a:tblPr>
              <a:tblGrid>
                <a:gridCol w="2000236">
                  <a:extLst>
                    <a:ext uri="{9D8B030D-6E8A-4147-A177-3AD203B41FA5}">
                      <a16:colId xmlns:a16="http://schemas.microsoft.com/office/drawing/2014/main" val="2210956583"/>
                    </a:ext>
                  </a:extLst>
                </a:gridCol>
                <a:gridCol w="5513495">
                  <a:extLst>
                    <a:ext uri="{9D8B030D-6E8A-4147-A177-3AD203B41FA5}">
                      <a16:colId xmlns:a16="http://schemas.microsoft.com/office/drawing/2014/main" val="1581170035"/>
                    </a:ext>
                  </a:extLst>
                </a:gridCol>
              </a:tblGrid>
              <a:tr h="292062">
                <a:tc>
                  <a:txBody>
                    <a:bodyPr/>
                    <a:lstStyle/>
                    <a:p>
                      <a:pPr algn="ctr"/>
                      <a:r>
                        <a:rPr lang="en-US" sz="1600" dirty="0">
                          <a:latin typeface="Calibri" panose="020F0502020204030204" pitchFamily="34" charset="0"/>
                          <a:cs typeface="Calibri" panose="020F0502020204030204" pitchFamily="34" charset="0"/>
                        </a:rPr>
                        <a:t>Field</a:t>
                      </a:r>
                    </a:p>
                  </a:txBody>
                  <a:tcPr marT="36007" marB="36007"/>
                </a:tc>
                <a:tc>
                  <a:txBody>
                    <a:bodyPr/>
                    <a:lstStyle/>
                    <a:p>
                      <a:pPr algn="ctr"/>
                      <a:r>
                        <a:rPr lang="en-US" sz="1600" dirty="0">
                          <a:latin typeface="Calibri" panose="020F0502020204030204" pitchFamily="34" charset="0"/>
                          <a:cs typeface="Calibri" panose="020F0502020204030204" pitchFamily="34" charset="0"/>
                        </a:rPr>
                        <a:t>Description</a:t>
                      </a:r>
                    </a:p>
                  </a:txBody>
                  <a:tcPr marT="36007" marB="36007"/>
                </a:tc>
                <a:extLst>
                  <a:ext uri="{0D108BD9-81ED-4DB2-BD59-A6C34878D82A}">
                    <a16:rowId xmlns:a16="http://schemas.microsoft.com/office/drawing/2014/main" val="2807835465"/>
                  </a:ext>
                </a:extLst>
              </a:tr>
              <a:tr h="292062">
                <a:tc>
                  <a:txBody>
                    <a:bodyPr/>
                    <a:lstStyle/>
                    <a:p>
                      <a:pPr algn="l"/>
                      <a:r>
                        <a:rPr lang="en-US" sz="1600" b="1" dirty="0">
                          <a:latin typeface="Calibri" panose="020F0502020204030204" pitchFamily="34" charset="0"/>
                          <a:cs typeface="Calibri" panose="020F0502020204030204" pitchFamily="34" charset="0"/>
                        </a:rPr>
                        <a:t>Grid</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2x2 array;</a:t>
                      </a:r>
                      <a:r>
                        <a:rPr lang="en-US" sz="1600" baseline="0" dirty="0">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cells represent square</a:t>
                      </a:r>
                      <a:r>
                        <a:rPr lang="en-US" sz="1600" baseline="0" dirty="0">
                          <a:latin typeface="Calibri" panose="020F0502020204030204" pitchFamily="34" charset="0"/>
                          <a:cs typeface="Calibri" panose="020F0502020204030204" pitchFamily="34" charset="0"/>
                        </a:rPr>
                        <a:t> area of environment</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Occupancy</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Metadata</a:t>
                      </a:r>
                    </a:p>
                  </a:txBody>
                  <a:tcPr marT="36007" marB="36007">
                    <a:solidFill>
                      <a:schemeClr val="bg2">
                        <a:lumMod val="20000"/>
                        <a:lumOff val="80000"/>
                      </a:schemeClr>
                    </a:solidFill>
                  </a:tcPr>
                </a:tc>
                <a:tc>
                  <a:txBody>
                    <a:bodyPr/>
                    <a:lstStyle/>
                    <a:p>
                      <a:pPr marL="285750" indent="-285750" algn="l">
                        <a:buFont typeface="Arial" panose="020B0604020202020204" pitchFamily="34" charset="0"/>
                        <a:buChar char="•"/>
                      </a:pPr>
                      <a:r>
                        <a:rPr lang="en-US" sz="1600" dirty="0">
                          <a:latin typeface="Calibri" panose="020F0502020204030204" pitchFamily="34" charset="0"/>
                          <a:cs typeface="Calibri" panose="020F0502020204030204" pitchFamily="34" charset="0"/>
                        </a:rPr>
                        <a:t>Type/classification</a:t>
                      </a:r>
                      <a:r>
                        <a:rPr lang="en-US" sz="1600" baseline="0" dirty="0">
                          <a:latin typeface="Calibri" panose="020F0502020204030204" pitchFamily="34" charset="0"/>
                          <a:cs typeface="Calibri" panose="020F0502020204030204" pitchFamily="34" charset="0"/>
                        </a:rPr>
                        <a:t> of features (based on human anatomy)</a:t>
                      </a:r>
                    </a:p>
                    <a:p>
                      <a:pPr marL="285750" indent="-285750" algn="l">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600" b="1" dirty="0" err="1">
                          <a:latin typeface="Calibri" panose="020F0502020204030204" pitchFamily="34" charset="0"/>
                          <a:cs typeface="Calibri" panose="020F0502020204030204" pitchFamily="34" charset="0"/>
                        </a:rPr>
                        <a:t>Time_Last_Updated</a:t>
                      </a:r>
                      <a:endParaRPr lang="en-US" sz="1600" b="1" dirty="0">
                        <a:latin typeface="Calibri" panose="020F0502020204030204" pitchFamily="34" charset="0"/>
                        <a:cs typeface="Calibri" panose="020F0502020204030204" pitchFamily="34" charset="0"/>
                      </a:endParaRP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600" b="1" dirty="0">
                          <a:latin typeface="Calibri" panose="020F0502020204030204" pitchFamily="34" charset="0"/>
                          <a:cs typeface="Calibri" panose="020F0502020204030204" pitchFamily="34" charset="0"/>
                        </a:rPr>
                        <a:t>Resolution</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Resolution</a:t>
                      </a:r>
                      <a:r>
                        <a:rPr lang="en-US" sz="1600" baseline="0" dirty="0">
                          <a:latin typeface="Calibri" panose="020F0502020204030204" pitchFamily="34" charset="0"/>
                          <a:cs typeface="Calibri" panose="020F0502020204030204" pitchFamily="34" charset="0"/>
                        </a:rPr>
                        <a:t> of map (corresponding to real-world scale)</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824279294"/>
                  </a:ext>
                </a:extLst>
              </a:tr>
            </a:tbl>
          </a:graphicData>
        </a:graphic>
      </p:graphicFrame>
      <p:sp>
        <p:nvSpPr>
          <p:cNvPr id="35" name="TextBox 34">
            <a:extLst>
              <a:ext uri="{FF2B5EF4-FFF2-40B4-BE49-F238E27FC236}">
                <a16:creationId xmlns:a16="http://schemas.microsoft.com/office/drawing/2014/main" id="{AA904D97-3E8D-6E9A-AF03-521D7166368C}"/>
              </a:ext>
            </a:extLst>
          </p:cNvPr>
          <p:cNvSpPr txBox="1"/>
          <p:nvPr/>
        </p:nvSpPr>
        <p:spPr>
          <a:xfrm>
            <a:off x="384174" y="1344720"/>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schema for occupancy map:</a:t>
            </a:r>
          </a:p>
        </p:txBody>
      </p:sp>
      <p:sp>
        <p:nvSpPr>
          <p:cNvPr id="36" name="TextBox 35">
            <a:extLst>
              <a:ext uri="{FF2B5EF4-FFF2-40B4-BE49-F238E27FC236}">
                <a16:creationId xmlns:a16="http://schemas.microsoft.com/office/drawing/2014/main" id="{19DC55C0-C86C-5108-D354-0584FB79390C}"/>
              </a:ext>
            </a:extLst>
          </p:cNvPr>
          <p:cNvSpPr txBox="1"/>
          <p:nvPr/>
        </p:nvSpPr>
        <p:spPr>
          <a:xfrm>
            <a:off x="384174" y="3950031"/>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Algorithm to initialize and refresh occupancy grid:</a:t>
            </a:r>
          </a:p>
        </p:txBody>
      </p:sp>
      <p:pic>
        <p:nvPicPr>
          <p:cNvPr id="1026" name="Picture 2" descr="Making a Map-making Robot:">
            <a:extLst>
              <a:ext uri="{FF2B5EF4-FFF2-40B4-BE49-F238E27FC236}">
                <a16:creationId xmlns:a16="http://schemas.microsoft.com/office/drawing/2014/main" id="{40FE64B8-0C6D-3B3D-D703-5575A48278E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8255425" y="1848336"/>
            <a:ext cx="1548922" cy="15822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Making a Map-making Robot:">
            <a:extLst>
              <a:ext uri="{FF2B5EF4-FFF2-40B4-BE49-F238E27FC236}">
                <a16:creationId xmlns:a16="http://schemas.microsoft.com/office/drawing/2014/main" id="{5B7A8394-493E-3C9D-8A17-95E755A3C54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9" b="-1"/>
          <a:stretch/>
        </p:blipFill>
        <p:spPr bwMode="auto">
          <a:xfrm>
            <a:off x="10219625" y="1848335"/>
            <a:ext cx="1548922" cy="15830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2154719-57B8-D5E5-C246-874B96B2112F}"/>
              </a:ext>
            </a:extLst>
          </p:cNvPr>
          <p:cNvSpPr txBox="1"/>
          <p:nvPr/>
        </p:nvSpPr>
        <p:spPr>
          <a:xfrm>
            <a:off x="8213408" y="3510623"/>
            <a:ext cx="3526919"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5 </a:t>
            </a:r>
            <a:r>
              <a:rPr lang="en-US" sz="1200" noProof="0" dirty="0">
                <a:latin typeface="Calibri" panose="020F0502020204030204" pitchFamily="34" charset="0"/>
                <a:cs typeface="Calibri" panose="020F0502020204030204" pitchFamily="34" charset="0"/>
              </a:rPr>
              <a:t>Illustrative example of how an image of the environment (left) can be mapped into a binary occupancy grid (right)</a:t>
            </a:r>
          </a:p>
        </p:txBody>
      </p:sp>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248628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84174" y="381000"/>
            <a:ext cx="11420475" cy="485775"/>
          </a:xfrm>
          <a:ln>
            <a:noFill/>
          </a:ln>
        </p:spPr>
        <p:style>
          <a:lnRef idx="2">
            <a:schemeClr val="accent1"/>
          </a:lnRef>
          <a:fillRef idx="1">
            <a:schemeClr val="lt1"/>
          </a:fillRef>
          <a:effectRef idx="0">
            <a:schemeClr val="accent1"/>
          </a:effectRef>
          <a:fontRef idx="minor">
            <a:schemeClr val="dk1"/>
          </a:fontRef>
        </p:style>
        <p:txBody>
          <a:bodyPr vert="horz">
            <a:noAutofit/>
          </a:bodyPr>
          <a:lstStyle/>
          <a:p>
            <a:pPr>
              <a:lnSpc>
                <a:spcPct val="125000"/>
              </a:lnSpc>
            </a:pPr>
            <a:r>
              <a:rPr lang="en-US" dirty="0">
                <a:latin typeface="Arial" panose="020B0604020202020204" pitchFamily="34" charset="0"/>
                <a:cs typeface="Arial" panose="020B0604020202020204" pitchFamily="34" charset="0"/>
              </a:rPr>
              <a:t>We can populate the occupancy grid using image filtering techniques &amp; localize the robot using Bayesian estimator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388101"/>
            <a:ext cx="11244859" cy="312964"/>
          </a:xfrm>
        </p:spPr>
        <p:txBody>
          <a:bodyPr/>
          <a:lstStyle/>
          <a:p>
            <a:r>
              <a:rPr lang="en-US" dirty="0"/>
              <a:t>Source: High-performance localization software for autonomous vehicles (</a:t>
            </a:r>
            <a:r>
              <a:rPr lang="en-US" dirty="0">
                <a:hlinkClick r:id="rId5"/>
              </a:rPr>
              <a:t>GitHub</a:t>
            </a:r>
            <a:r>
              <a:rPr lang="en-US" dirty="0"/>
              <a:t>)</a:t>
            </a:r>
            <a:r>
              <a:rPr lang="en-US" i="1" dirty="0"/>
              <a:t>; </a:t>
            </a:r>
            <a:r>
              <a:rPr lang="en-US" dirty="0"/>
              <a:t>Surgical Robotics, Systems Applications and Visions (Springer)</a:t>
            </a:r>
          </a:p>
          <a:p>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60960" y="2004781"/>
            <a:ext cx="6628674" cy="3876473"/>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21505"/>
              <a:chOff x="2428568" y="2679290"/>
              <a:chExt cx="4968991" cy="2721505"/>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grpSp>
      </p:grpSp>
      <p:sp>
        <p:nvSpPr>
          <p:cNvPr id="50" name="Rectangle 49">
            <a:extLst>
              <a:ext uri="{FF2B5EF4-FFF2-40B4-BE49-F238E27FC236}">
                <a16:creationId xmlns:a16="http://schemas.microsoft.com/office/drawing/2014/main" id="{D89614D6-3584-F373-40C7-1FCD4F057834}"/>
              </a:ext>
            </a:extLst>
          </p:cNvPr>
          <p:cNvSpPr/>
          <p:nvPr/>
        </p:nvSpPr>
        <p:spPr>
          <a:xfrm>
            <a:off x="384174" y="1520825"/>
            <a:ext cx="5711826"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Sketch of potential adaptive control localization algorithm</a:t>
            </a:r>
          </a:p>
        </p:txBody>
      </p:sp>
      <p:sp>
        <p:nvSpPr>
          <p:cNvPr id="51" name="Rectangle 50">
            <a:extLst>
              <a:ext uri="{FF2B5EF4-FFF2-40B4-BE49-F238E27FC236}">
                <a16:creationId xmlns:a16="http://schemas.microsoft.com/office/drawing/2014/main" id="{C5F6EF41-5F1A-5487-C131-44BF62CDC8B6}"/>
              </a:ext>
            </a:extLst>
          </p:cNvPr>
          <p:cNvSpPr/>
          <p:nvPr/>
        </p:nvSpPr>
        <p:spPr>
          <a:xfrm>
            <a:off x="6180136" y="1520825"/>
            <a:ext cx="5640389"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otential image-filtering techniques to localize robot using X-rays, MRI, etc.</a:t>
            </a:r>
          </a:p>
        </p:txBody>
      </p:sp>
      <p:sp>
        <p:nvSpPr>
          <p:cNvPr id="3" name="TextBox 2">
            <a:extLst>
              <a:ext uri="{FF2B5EF4-FFF2-40B4-BE49-F238E27FC236}">
                <a16:creationId xmlns:a16="http://schemas.microsoft.com/office/drawing/2014/main" id="{87E574B7-8459-08B3-6E4D-4BF429B6B935}"/>
              </a:ext>
            </a:extLst>
          </p:cNvPr>
          <p:cNvSpPr txBox="1"/>
          <p:nvPr/>
        </p:nvSpPr>
        <p:spPr>
          <a:xfrm>
            <a:off x="6388100" y="2311400"/>
            <a:ext cx="5432425" cy="3605893"/>
          </a:xfrm>
          <a:prstGeom prst="rect">
            <a:avLst/>
          </a:prstGeom>
          <a:noFill/>
        </p:spPr>
        <p:txBody>
          <a:bodyPr wrap="square">
            <a:noAutofit/>
          </a:bodyPr>
          <a:lstStyle/>
          <a:p>
            <a:pPr marL="228600" indent="-228600" algn="l">
              <a:lnSpc>
                <a:spcPct val="125000"/>
              </a:lnSpc>
              <a:spcAft>
                <a:spcPts val="300"/>
              </a:spcAft>
              <a:buAutoNum type="arabicPeriod"/>
            </a:pPr>
            <a:r>
              <a:rPr lang="en-US" sz="1600" b="0" i="0" u="none" strike="noStrike" baseline="0" dirty="0">
                <a:latin typeface="AdvP6965"/>
              </a:rPr>
              <a:t>Measurement models can be used to specify the likelihood of robot and target location measurements obtained from the imaging system</a:t>
            </a:r>
          </a:p>
          <a:p>
            <a:pPr marL="228600" indent="-228600" algn="l">
              <a:lnSpc>
                <a:spcPct val="125000"/>
              </a:lnSpc>
              <a:spcAft>
                <a:spcPts val="300"/>
              </a:spcAft>
              <a:buAutoNum type="arabicPeriod"/>
            </a:pPr>
            <a:r>
              <a:rPr lang="en-US" sz="1600" dirty="0">
                <a:latin typeface="AdvP6965"/>
              </a:rPr>
              <a:t>Motion models to estimate the robot’s future position given current state of the target and robot (via probability density functions for next states)</a:t>
            </a:r>
          </a:p>
          <a:p>
            <a:pPr marL="228600" indent="-228600" algn="l">
              <a:lnSpc>
                <a:spcPct val="125000"/>
              </a:lnSpc>
              <a:spcAft>
                <a:spcPts val="300"/>
              </a:spcAft>
              <a:buAutoNum type="arabicPeriod"/>
            </a:pPr>
            <a:r>
              <a:rPr lang="en-US" sz="1600" dirty="0">
                <a:latin typeface="AdvP6965"/>
              </a:rPr>
              <a:t>Bayesian filters to estimate the current robot and target state given output from measurement and motion models</a:t>
            </a:r>
          </a:p>
        </p:txBody>
      </p:sp>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120632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0A846404-5368-28A7-A383-34EF8500AE26}"/>
              </a:ext>
            </a:extLst>
          </p:cNvPr>
          <p:cNvGrpSpPr/>
          <p:nvPr/>
        </p:nvGrpSpPr>
        <p:grpSpPr>
          <a:xfrm rot="21001171">
            <a:off x="-1126710" y="849479"/>
            <a:ext cx="8492431" cy="5732874"/>
            <a:chOff x="179488" y="1054614"/>
            <a:chExt cx="8492431" cy="5732874"/>
          </a:xfrm>
        </p:grpSpPr>
        <p:pic>
          <p:nvPicPr>
            <p:cNvPr id="14" name="Picture 4" descr="BMI Biomedical International – R/F SYSTEMS">
              <a:extLst>
                <a:ext uri="{FF2B5EF4-FFF2-40B4-BE49-F238E27FC236}">
                  <a16:creationId xmlns:a16="http://schemas.microsoft.com/office/drawing/2014/main" id="{19A29898-FA7B-3C3A-0F3F-40FF3CE71B8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50323" y="1054614"/>
              <a:ext cx="7821596" cy="480008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92D2026-E68B-393C-7888-8B93ED80CD88}"/>
                </a:ext>
              </a:extLst>
            </p:cNvPr>
            <p:cNvSpPr/>
            <p:nvPr/>
          </p:nvSpPr>
          <p:spPr>
            <a:xfrm rot="19282366">
              <a:off x="179488" y="1480437"/>
              <a:ext cx="4085965" cy="530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17859E41-3581-FC88-4D82-7E5D733A44A4}"/>
                </a:ext>
              </a:extLst>
            </p:cNvPr>
            <p:cNvSpPr/>
            <p:nvPr/>
          </p:nvSpPr>
          <p:spPr>
            <a:xfrm rot="21536336">
              <a:off x="5822582" y="2322569"/>
              <a:ext cx="2441756" cy="3677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88124622-C3A0-746D-7137-9A464926EC6C}"/>
                </a:ext>
              </a:extLst>
            </p:cNvPr>
            <p:cNvSpPr/>
            <p:nvPr/>
          </p:nvSpPr>
          <p:spPr>
            <a:xfrm rot="21536336">
              <a:off x="4648030" y="3410024"/>
              <a:ext cx="2441756" cy="321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grp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6"/>
          <a:stretch>
            <a:fillRect/>
          </a:stretch>
        </p:blipFill>
        <p:spPr>
          <a:xfrm>
            <a:off x="-5710399" y="889994"/>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84174" y="381000"/>
            <a:ext cx="11420475" cy="485775"/>
          </a:xfrm>
        </p:spPr>
        <p:txBody>
          <a:bodyPr vert="horz">
            <a:noAutofit/>
          </a:bodyPr>
          <a:lstStyle/>
          <a:p>
            <a:pPr>
              <a:lnSpc>
                <a:spcPct val="125000"/>
              </a:lnSpc>
            </a:pPr>
            <a:r>
              <a:rPr lang="en-US" dirty="0">
                <a:latin typeface="Arial" panose="020B0604020202020204" pitchFamily="34" charset="0"/>
                <a:cs typeface="Arial" panose="020B0604020202020204" pitchFamily="34" charset="0"/>
              </a:rPr>
              <a:t>Illustrative Model of robot, magnetic field controller, X-ray</a:t>
            </a:r>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4140932"/>
            <a:chOff x="6553139" y="1917808"/>
            <a:chExt cx="4462635" cy="414093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7"/>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8"/>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1200329"/>
            </a:xfrm>
            <a:prstGeom prst="rect">
              <a:avLst/>
            </a:prstGeom>
            <a:noFill/>
          </p:spPr>
          <p:txBody>
            <a:bodyPr wrap="square">
              <a:spAutoFit/>
            </a:bodyPr>
            <a:lstStyle/>
            <a:p>
              <a:pPr algn="l"/>
              <a:r>
                <a:rPr lang="en-US" sz="1200" b="0" i="0" u="none" strike="noStrike" baseline="0" dirty="0">
                  <a:latin typeface="Calibri" panose="020F0502020204030204" pitchFamily="34" charset="0"/>
                  <a:cs typeface="Calibri" panose="020F050202020403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200" dirty="0">
                <a:latin typeface="Calibri" panose="020F0502020204030204" pitchFamily="34" charset="0"/>
                <a:cs typeface="Calibri" panose="020F050202020403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973349" y="976189"/>
            <a:ext cx="8616391" cy="5310129"/>
            <a:chOff x="440414" y="2455789"/>
            <a:chExt cx="7180653"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Y</a:t>
                </a:r>
                <a:endParaRPr lang="en-US" sz="1600" baseline="-25000" noProof="0" dirty="0">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600" dirty="0">
                      <a:latin typeface="Calibri" panose="020F0502020204030204" pitchFamily="34" charset="0"/>
                      <a:cs typeface="Calibri" panose="020F0502020204030204" pitchFamily="34" charset="0"/>
                    </a:rPr>
                    <a:t>Z</a:t>
                  </a:r>
                  <a:endParaRPr lang="en-US" sz="1600" baseline="-25000" noProof="0" dirty="0">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X</a:t>
                </a:r>
                <a:endParaRPr lang="en-US" sz="1600" baseline="-25000" noProof="0" dirty="0">
                  <a:latin typeface="Calibri" panose="020F0502020204030204" pitchFamily="34" charset="0"/>
                  <a:cs typeface="Calibri" panose="020F0502020204030204" pitchFamily="34" charset="0"/>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2666572307"/>
                    </p:ext>
                  </p:extLst>
                </p:nvPr>
              </p:nvGraphicFramePr>
              <p:xfrm rot="18736159">
                <a:off x="3421747" y="1164753"/>
                <a:ext cx="1752520" cy="6646121"/>
              </p:xfrm>
              <a:graphic>
                <a:graphicData uri="http://schemas.microsoft.com/office/drawing/2017/model3d">
                  <am3d:model3d r:embed="rId9">
                    <am3d:spPr>
                      <a:xfrm rot="18736159">
                        <a:off x="0" y="0"/>
                        <a:ext cx="2085951" cy="7974982"/>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10"/>
                    </am3d:raster>
                    <am3d:objViewport viewportSz="833606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10"/>
                <a:stretch>
                  <a:fillRect/>
                </a:stretch>
              </p:blipFill>
              <p:spPr>
                <a:xfrm rot="18736159">
                  <a:off x="2612576" y="-592668"/>
                  <a:ext cx="2085951" cy="7974982"/>
                </a:xfrm>
                <a:prstGeom prst="rect">
                  <a:avLst/>
                </a:prstGeom>
              </p:spPr>
            </p:pic>
          </mc:Fallback>
        </mc:AlternateContent>
      </p:grpSp>
      <p:sp>
        <p:nvSpPr>
          <p:cNvPr id="4" name="TextBox 3">
            <a:extLst>
              <a:ext uri="{FF2B5EF4-FFF2-40B4-BE49-F238E27FC236}">
                <a16:creationId xmlns:a16="http://schemas.microsoft.com/office/drawing/2014/main" id="{5D71D3F4-248D-B9D7-2877-40EBFC966C5F}"/>
              </a:ext>
            </a:extLst>
          </p:cNvPr>
          <p:cNvSpPr txBox="1"/>
          <p:nvPr/>
        </p:nvSpPr>
        <p:spPr>
          <a:xfrm>
            <a:off x="9613407" y="959959"/>
            <a:ext cx="1963134" cy="718874"/>
          </a:xfrm>
          <a:prstGeom prst="rect">
            <a:avLst/>
          </a:prstGeom>
          <a:noFill/>
        </p:spPr>
        <p:txBody>
          <a:bodyPr wrap="square" lIns="0" tIns="0" rIns="0" bIns="0" rtlCol="0">
            <a:noAutofit/>
          </a:bodyPr>
          <a:lstStyle/>
          <a:p>
            <a:pPr algn="ctr" defTabSz="228600">
              <a:spcAft>
                <a:spcPts val="1200"/>
              </a:spcAft>
            </a:pPr>
            <a:r>
              <a:rPr lang="en-US" sz="1400" dirty="0">
                <a:latin typeface="Calibri" panose="020F0502020204030204" pitchFamily="34" charset="0"/>
                <a:cs typeface="Calibri" panose="020F0502020204030204" pitchFamily="34" charset="0"/>
              </a:rPr>
              <a:t>~500-micron scale robot capable of moving within a live body</a:t>
            </a:r>
            <a:endParaRPr lang="en-US" sz="1400" noProof="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1DDF427-78DB-75F6-6987-46B02DA5ADD3}"/>
              </a:ext>
            </a:extLst>
          </p:cNvPr>
          <p:cNvSpPr txBox="1"/>
          <p:nvPr/>
        </p:nvSpPr>
        <p:spPr>
          <a:xfrm>
            <a:off x="9461500" y="1944063"/>
            <a:ext cx="1963134" cy="1051146"/>
          </a:xfrm>
          <a:prstGeom prst="rect">
            <a:avLst/>
          </a:prstGeom>
          <a:noFill/>
        </p:spPr>
        <p:txBody>
          <a:bodyPr wrap="square" lIns="0" tIns="0" rIns="0" bIns="0" rtlCol="0">
            <a:noAutofit/>
          </a:bodyPr>
          <a:lstStyle/>
          <a:p>
            <a:pPr algn="ctr" defTabSz="228600">
              <a:spcAft>
                <a:spcPts val="1200"/>
              </a:spcAft>
            </a:pPr>
            <a:r>
              <a:rPr lang="en-US" sz="1400" noProof="0" dirty="0">
                <a:latin typeface="Calibri" panose="020F0502020204030204" pitchFamily="34" charset="0"/>
                <a:cs typeface="Calibri" panose="020F0502020204030204" pitchFamily="34" charset="0"/>
              </a:rPr>
              <a:t>Directionally-aligned solenoids which receive commands from external electromagnetic-field generating apparatus</a:t>
            </a:r>
          </a:p>
        </p:txBody>
      </p:sp>
      <p:sp>
        <p:nvSpPr>
          <p:cNvPr id="25" name="TextBox 24">
            <a:extLst>
              <a:ext uri="{FF2B5EF4-FFF2-40B4-BE49-F238E27FC236}">
                <a16:creationId xmlns:a16="http://schemas.microsoft.com/office/drawing/2014/main" id="{6CCB6BAE-F982-C5E3-9AFE-B4A0847D4E2C}"/>
              </a:ext>
            </a:extLst>
          </p:cNvPr>
          <p:cNvSpPr txBox="1"/>
          <p:nvPr/>
        </p:nvSpPr>
        <p:spPr>
          <a:xfrm>
            <a:off x="3562312" y="1032298"/>
            <a:ext cx="1963134" cy="718874"/>
          </a:xfrm>
          <a:prstGeom prst="rect">
            <a:avLst/>
          </a:prstGeom>
          <a:noFill/>
        </p:spPr>
        <p:txBody>
          <a:bodyPr wrap="square" lIns="0" tIns="0" rIns="0" bIns="0" rtlCol="0">
            <a:noAutofit/>
          </a:bodyPr>
          <a:lstStyle/>
          <a:p>
            <a:pPr algn="ctr" defTabSz="228600">
              <a:spcAft>
                <a:spcPts val="1200"/>
              </a:spcAft>
            </a:pPr>
            <a:r>
              <a:rPr lang="en-US" sz="1400" dirty="0">
                <a:latin typeface="Calibri" panose="020F0502020204030204" pitchFamily="34" charset="0"/>
                <a:cs typeface="Calibri" panose="020F0502020204030204" pitchFamily="34" charset="0"/>
              </a:rPr>
              <a:t>X-ray device to provide live image stream</a:t>
            </a:r>
            <a:endParaRPr lang="en-US" sz="1400" noProof="0"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B2295EB4-2554-42AF-759A-1DDF0500EC6F}"/>
              </a:ext>
            </a:extLst>
          </p:cNvPr>
          <p:cNvSpPr txBox="1"/>
          <p:nvPr/>
        </p:nvSpPr>
        <p:spPr>
          <a:xfrm>
            <a:off x="7612275" y="5449100"/>
            <a:ext cx="2337884" cy="1051146"/>
          </a:xfrm>
          <a:prstGeom prst="rect">
            <a:avLst/>
          </a:prstGeom>
          <a:noFill/>
        </p:spPr>
        <p:txBody>
          <a:bodyPr wrap="square" lIns="0" tIns="0" rIns="0" bIns="0" rtlCol="0">
            <a:noAutofit/>
          </a:bodyPr>
          <a:lstStyle/>
          <a:p>
            <a:pPr algn="ctr" defTabSz="228600">
              <a:spcAft>
                <a:spcPts val="1200"/>
              </a:spcAft>
            </a:pPr>
            <a:r>
              <a:rPr lang="en-US" sz="1400" noProof="0" dirty="0">
                <a:latin typeface="Calibri" panose="020F0502020204030204" pitchFamily="34" charset="0"/>
                <a:cs typeface="Calibri" panose="020F0502020204030204" pitchFamily="34" charset="0"/>
              </a:rPr>
              <a:t>Illustrative external magnetic field generating device: 6-DOF robotic arm mounted with electromagnetic coils to steer and propel robot in-vivo</a:t>
            </a:r>
          </a:p>
        </p:txBody>
      </p:sp>
      <p:grpSp>
        <p:nvGrpSpPr>
          <p:cNvPr id="1035" name="Group 1034">
            <a:extLst>
              <a:ext uri="{FF2B5EF4-FFF2-40B4-BE49-F238E27FC236}">
                <a16:creationId xmlns:a16="http://schemas.microsoft.com/office/drawing/2014/main" id="{B39216BE-5B45-EFCB-39B1-4D9D651C9725}"/>
              </a:ext>
            </a:extLst>
          </p:cNvPr>
          <p:cNvGrpSpPr/>
          <p:nvPr/>
        </p:nvGrpSpPr>
        <p:grpSpPr>
          <a:xfrm>
            <a:off x="7912100" y="2936511"/>
            <a:ext cx="4144031" cy="3269339"/>
            <a:chOff x="7912100" y="3126782"/>
            <a:chExt cx="4144031" cy="3269339"/>
          </a:xfrm>
        </p:grpSpPr>
        <p:pic>
          <p:nvPicPr>
            <p:cNvPr id="2050" name="Picture 2" descr="Motion Planning in a Simulated 6DoF Robotic Arm - Conn Bots">
              <a:extLst>
                <a:ext uri="{FF2B5EF4-FFF2-40B4-BE49-F238E27FC236}">
                  <a16:creationId xmlns:a16="http://schemas.microsoft.com/office/drawing/2014/main" id="{70621580-04DF-476D-A663-FE8B123A5F7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12100" y="3126782"/>
              <a:ext cx="4144031" cy="3269339"/>
            </a:xfrm>
            <a:prstGeom prst="rect">
              <a:avLst/>
            </a:prstGeom>
            <a:noFill/>
            <a:extLst>
              <a:ext uri="{909E8E84-426E-40DD-AFC4-6F175D3DCCD1}">
                <a14:hiddenFill xmlns:a14="http://schemas.microsoft.com/office/drawing/2010/main">
                  <a:solidFill>
                    <a:srgbClr val="FFFFFF"/>
                  </a:solidFill>
                </a14:hiddenFill>
              </a:ext>
            </a:extLst>
          </p:spPr>
        </p:pic>
        <p:sp>
          <p:nvSpPr>
            <p:cNvPr id="35" name="Oval 34">
              <a:extLst>
                <a:ext uri="{FF2B5EF4-FFF2-40B4-BE49-F238E27FC236}">
                  <a16:creationId xmlns:a16="http://schemas.microsoft.com/office/drawing/2014/main" id="{3097C1A6-0111-F3EB-D9E8-D001B4097233}"/>
                </a:ext>
              </a:extLst>
            </p:cNvPr>
            <p:cNvSpPr/>
            <p:nvPr/>
          </p:nvSpPr>
          <p:spPr>
            <a:xfrm rot="19573126">
              <a:off x="8215133" y="4374482"/>
              <a:ext cx="747770" cy="998025"/>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solidFill>
                  <a:schemeClr val="tx1"/>
                </a:solidFill>
                <a:latin typeface="Calibri" panose="020F0502020204030204" pitchFamily="34" charset="0"/>
                <a:cs typeface="Calibri" panose="020F0502020204030204" pitchFamily="34" charset="0"/>
              </a:endParaRPr>
            </a:p>
          </p:txBody>
        </p:sp>
        <p:sp>
          <p:nvSpPr>
            <p:cNvPr id="29" name="Circle: Hollow 28">
              <a:extLst>
                <a:ext uri="{FF2B5EF4-FFF2-40B4-BE49-F238E27FC236}">
                  <a16:creationId xmlns:a16="http://schemas.microsoft.com/office/drawing/2014/main" id="{2E044220-6958-C78A-4527-F4FA1BAA4A62}"/>
                </a:ext>
              </a:extLst>
            </p:cNvPr>
            <p:cNvSpPr/>
            <p:nvPr/>
          </p:nvSpPr>
          <p:spPr>
            <a:xfrm rot="19573126">
              <a:off x="8215133" y="4374482"/>
              <a:ext cx="747770" cy="998025"/>
            </a:xfrm>
            <a:prstGeom prst="donut">
              <a:avLst/>
            </a:prstGeom>
            <a:solidFill>
              <a:schemeClr val="tx1">
                <a:lumMod val="50000"/>
                <a:lumOff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solidFill>
                  <a:schemeClr val="tx1"/>
                </a:solidFill>
                <a:latin typeface="Calibri" panose="020F0502020204030204" pitchFamily="34" charset="0"/>
                <a:cs typeface="Calibri" panose="020F0502020204030204" pitchFamily="34" charset="0"/>
              </a:endParaRPr>
            </a:p>
          </p:txBody>
        </p:sp>
      </p:grpSp>
      <p:grpSp>
        <p:nvGrpSpPr>
          <p:cNvPr id="1037" name="Group 1036">
            <a:extLst>
              <a:ext uri="{FF2B5EF4-FFF2-40B4-BE49-F238E27FC236}">
                <a16:creationId xmlns:a16="http://schemas.microsoft.com/office/drawing/2014/main" id="{692528A7-0A70-2ECB-36EE-26DF778F5AA6}"/>
              </a:ext>
            </a:extLst>
          </p:cNvPr>
          <p:cNvGrpSpPr/>
          <p:nvPr/>
        </p:nvGrpSpPr>
        <p:grpSpPr>
          <a:xfrm>
            <a:off x="2256130" y="868274"/>
            <a:ext cx="7200265" cy="2915859"/>
            <a:chOff x="2293074" y="868274"/>
            <a:chExt cx="7200265" cy="2915859"/>
          </a:xfrm>
        </p:grpSpPr>
        <p:grpSp>
          <p:nvGrpSpPr>
            <p:cNvPr id="23" name="Group 22">
              <a:extLst>
                <a:ext uri="{FF2B5EF4-FFF2-40B4-BE49-F238E27FC236}">
                  <a16:creationId xmlns:a16="http://schemas.microsoft.com/office/drawing/2014/main" id="{E7C5B681-C74A-9D27-CA31-353BD40CABFC}"/>
                </a:ext>
              </a:extLst>
            </p:cNvPr>
            <p:cNvGrpSpPr/>
            <p:nvPr/>
          </p:nvGrpSpPr>
          <p:grpSpPr>
            <a:xfrm>
              <a:off x="2293074"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2825" cy="51197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791638" y="3885496"/>
                <a:ext cx="2062095" cy="426674"/>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3">
                      <am3d:spPr>
                        <a:xfrm>
                          <a:off x="0" y="0"/>
                          <a:ext cx="360837" cy="33575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4"/>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4"/>
                  <a:stretch>
                    <a:fillRect/>
                  </a:stretch>
                </p:blipFill>
                <p:spPr>
                  <a:xfrm>
                    <a:off x="2403483"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2864455324"/>
                      </p:ext>
                    </p:extLst>
                  </p:nvPr>
                </p:nvGraphicFramePr>
                <p:xfrm>
                  <a:off x="4461303" y="3339371"/>
                  <a:ext cx="820176" cy="719338"/>
                </p:xfrm>
                <a:graphic>
                  <a:graphicData uri="http://schemas.microsoft.com/office/drawing/2017/model3d">
                    <am3d:model3d r:embed="rId13">
                      <am3d:spPr>
                        <a:xfrm>
                          <a:off x="0" y="0"/>
                          <a:ext cx="2005163" cy="175863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5"/>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5"/>
                  <a:stretch>
                    <a:fillRect/>
                  </a:stretch>
                </p:blipFill>
                <p:spPr>
                  <a:xfrm>
                    <a:off x="6520394" y="1361854"/>
                    <a:ext cx="2005163" cy="1758634"/>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186216" y="904921"/>
              <a:ext cx="2901215" cy="2835229"/>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16">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xmlns="">
              <p:pic>
                <p:nvPicPr>
                  <p:cNvPr id="1046" name="Ink 1045">
                    <a:extLst>
                      <a:ext uri="{FF2B5EF4-FFF2-40B4-BE49-F238E27FC236}">
                        <a16:creationId xmlns:a16="http://schemas.microsoft.com/office/drawing/2014/main" id="{0C212C19-427F-D02E-9A3C-279C87A5F970}"/>
                      </a:ext>
                    </a:extLst>
                  </p:cNvPr>
                  <p:cNvPicPr/>
                  <p:nvPr/>
                </p:nvPicPr>
                <p:blipFill>
                  <a:blip r:embed="rId17"/>
                  <a:stretch>
                    <a:fillRect/>
                  </a:stretch>
                </p:blipFill>
                <p:spPr>
                  <a:xfrm>
                    <a:off x="7540860" y="255004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xmlns="">
              <p:pic>
                <p:nvPicPr>
                  <p:cNvPr id="1047" name="Ink 1046">
                    <a:extLst>
                      <a:ext uri="{FF2B5EF4-FFF2-40B4-BE49-F238E27FC236}">
                        <a16:creationId xmlns:a16="http://schemas.microsoft.com/office/drawing/2014/main" id="{4DCC08A9-2462-96FE-57CA-CBA1945D8F0A}"/>
                      </a:ext>
                    </a:extLst>
                  </p:cNvPr>
                  <p:cNvPicPr/>
                  <p:nvPr/>
                </p:nvPicPr>
                <p:blipFill>
                  <a:blip r:embed="rId19"/>
                  <a:stretch>
                    <a:fillRect/>
                  </a:stretch>
                </p:blipFill>
                <p:spPr>
                  <a:xfrm>
                    <a:off x="7265460" y="228580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xmlns="">
              <p:pic>
                <p:nvPicPr>
                  <p:cNvPr id="1048" name="Ink 1047">
                    <a:extLst>
                      <a:ext uri="{FF2B5EF4-FFF2-40B4-BE49-F238E27FC236}">
                        <a16:creationId xmlns:a16="http://schemas.microsoft.com/office/drawing/2014/main" id="{1819DF32-E07F-577E-6873-CF515EB8CD4F}"/>
                      </a:ext>
                    </a:extLst>
                  </p:cNvPr>
                  <p:cNvPicPr/>
                  <p:nvPr/>
                </p:nvPicPr>
                <p:blipFill>
                  <a:blip r:embed="rId21"/>
                  <a:stretch>
                    <a:fillRect/>
                  </a:stretch>
                </p:blipFill>
                <p:spPr>
                  <a:xfrm>
                    <a:off x="7305780" y="232828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xmlns="">
              <p:pic>
                <p:nvPicPr>
                  <p:cNvPr id="1049" name="Ink 1048">
                    <a:extLst>
                      <a:ext uri="{FF2B5EF4-FFF2-40B4-BE49-F238E27FC236}">
                        <a16:creationId xmlns:a16="http://schemas.microsoft.com/office/drawing/2014/main" id="{E85871AA-8B03-E73B-9587-2249DDA3193E}"/>
                      </a:ext>
                    </a:extLst>
                  </p:cNvPr>
                  <p:cNvPicPr/>
                  <p:nvPr/>
                </p:nvPicPr>
                <p:blipFill>
                  <a:blip r:embed="rId23"/>
                  <a:stretch>
                    <a:fillRect/>
                  </a:stretch>
                </p:blipFill>
                <p:spPr>
                  <a:xfrm>
                    <a:off x="7252140" y="226384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xmlns="">
              <p:pic>
                <p:nvPicPr>
                  <p:cNvPr id="1050" name="Ink 1049">
                    <a:extLst>
                      <a:ext uri="{FF2B5EF4-FFF2-40B4-BE49-F238E27FC236}">
                        <a16:creationId xmlns:a16="http://schemas.microsoft.com/office/drawing/2014/main" id="{81D1F27D-E964-E606-2159-D0C4338026DA}"/>
                      </a:ext>
                    </a:extLst>
                  </p:cNvPr>
                  <p:cNvPicPr/>
                  <p:nvPr/>
                </p:nvPicPr>
                <p:blipFill>
                  <a:blip r:embed="rId25"/>
                  <a:stretch>
                    <a:fillRect/>
                  </a:stretch>
                </p:blipFill>
                <p:spPr>
                  <a:xfrm>
                    <a:off x="7541220" y="271384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xmlns="">
              <p:pic>
                <p:nvPicPr>
                  <p:cNvPr id="1051" name="Ink 1050">
                    <a:extLst>
                      <a:ext uri="{FF2B5EF4-FFF2-40B4-BE49-F238E27FC236}">
                        <a16:creationId xmlns:a16="http://schemas.microsoft.com/office/drawing/2014/main" id="{5A73C492-A5C4-BB3F-6DD3-263DAB6F4796}"/>
                      </a:ext>
                    </a:extLst>
                  </p:cNvPr>
                  <p:cNvPicPr/>
                  <p:nvPr/>
                </p:nvPicPr>
                <p:blipFill>
                  <a:blip r:embed="rId27"/>
                  <a:stretch>
                    <a:fillRect/>
                  </a:stretch>
                </p:blipFill>
                <p:spPr>
                  <a:xfrm>
                    <a:off x="7620420" y="276784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xmlns="">
              <p:pic>
                <p:nvPicPr>
                  <p:cNvPr id="1056" name="Ink 1055">
                    <a:extLst>
                      <a:ext uri="{FF2B5EF4-FFF2-40B4-BE49-F238E27FC236}">
                        <a16:creationId xmlns:a16="http://schemas.microsoft.com/office/drawing/2014/main" id="{E7CD9D09-02B2-7ACE-BB1B-EC39A81D8EC2}"/>
                      </a:ext>
                    </a:extLst>
                  </p:cNvPr>
                  <p:cNvPicPr/>
                  <p:nvPr/>
                </p:nvPicPr>
                <p:blipFill>
                  <a:blip r:embed="rId29"/>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0">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xmlns="">
              <p:pic>
                <p:nvPicPr>
                  <p:cNvPr id="1072" name="Ink 1071">
                    <a:extLst>
                      <a:ext uri="{FF2B5EF4-FFF2-40B4-BE49-F238E27FC236}">
                        <a16:creationId xmlns:a16="http://schemas.microsoft.com/office/drawing/2014/main" id="{0E8BBF73-E824-CDFE-1E48-9FF4AF3C4F7C}"/>
                      </a:ext>
                    </a:extLst>
                  </p:cNvPr>
                  <p:cNvPicPr/>
                  <p:nvPr/>
                </p:nvPicPr>
                <p:blipFill>
                  <a:blip r:embed="rId31"/>
                  <a:stretch>
                    <a:fillRect/>
                  </a:stretch>
                </p:blipFill>
                <p:spPr>
                  <a:xfrm>
                    <a:off x="8085180" y="265948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xmlns="">
              <p:pic>
                <p:nvPicPr>
                  <p:cNvPr id="1073" name="Ink 1072">
                    <a:extLst>
                      <a:ext uri="{FF2B5EF4-FFF2-40B4-BE49-F238E27FC236}">
                        <a16:creationId xmlns:a16="http://schemas.microsoft.com/office/drawing/2014/main" id="{2E44A2EA-0E7E-F0E9-DFE8-2F5571378FF9}"/>
                      </a:ext>
                    </a:extLst>
                  </p:cNvPr>
                  <p:cNvPicPr/>
                  <p:nvPr/>
                </p:nvPicPr>
                <p:blipFill>
                  <a:blip r:embed="rId33"/>
                  <a:stretch>
                    <a:fillRect/>
                  </a:stretch>
                </p:blipFill>
                <p:spPr>
                  <a:xfrm>
                    <a:off x="8065380" y="231532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xmlns="">
              <p:pic>
                <p:nvPicPr>
                  <p:cNvPr id="1074" name="Ink 1073">
                    <a:extLst>
                      <a:ext uri="{FF2B5EF4-FFF2-40B4-BE49-F238E27FC236}">
                        <a16:creationId xmlns:a16="http://schemas.microsoft.com/office/drawing/2014/main" id="{5BA6C64E-1FFA-1312-2E2B-69FBCE18F35C}"/>
                      </a:ext>
                    </a:extLst>
                  </p:cNvPr>
                  <p:cNvPicPr/>
                  <p:nvPr/>
                </p:nvPicPr>
                <p:blipFill>
                  <a:blip r:embed="rId35"/>
                  <a:stretch>
                    <a:fillRect/>
                  </a:stretch>
                </p:blipFill>
                <p:spPr>
                  <a:xfrm>
                    <a:off x="8063580" y="244888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xmlns="">
              <p:pic>
                <p:nvPicPr>
                  <p:cNvPr id="1075" name="Ink 1074">
                    <a:extLst>
                      <a:ext uri="{FF2B5EF4-FFF2-40B4-BE49-F238E27FC236}">
                        <a16:creationId xmlns:a16="http://schemas.microsoft.com/office/drawing/2014/main" id="{20320E39-41A8-C205-52BB-6835AB536D59}"/>
                      </a:ext>
                    </a:extLst>
                  </p:cNvPr>
                  <p:cNvPicPr/>
                  <p:nvPr/>
                </p:nvPicPr>
                <p:blipFill>
                  <a:blip r:embed="rId37"/>
                  <a:stretch>
                    <a:fillRect/>
                  </a:stretch>
                </p:blipFill>
                <p:spPr>
                  <a:xfrm>
                    <a:off x="8054580" y="2355285"/>
                    <a:ext cx="403560" cy="506520"/>
                  </a:xfrm>
                  <a:prstGeom prst="rect">
                    <a:avLst/>
                  </a:prstGeom>
                </p:spPr>
              </p:pic>
            </mc:Fallback>
          </mc:AlternateContent>
        </p:grpSp>
        <p:cxnSp>
          <p:nvCxnSpPr>
            <p:cNvPr id="44" name="Straight Arrow Connector 43">
              <a:extLst>
                <a:ext uri="{FF2B5EF4-FFF2-40B4-BE49-F238E27FC236}">
                  <a16:creationId xmlns:a16="http://schemas.microsoft.com/office/drawing/2014/main" id="{03E12033-9D6E-83C5-3E8C-171AA2FA0D2D}"/>
                </a:ext>
              </a:extLst>
            </p:cNvPr>
            <p:cNvCxnSpPr>
              <a:cxnSpLocks/>
            </p:cNvCxnSpPr>
            <p:nvPr/>
          </p:nvCxnSpPr>
          <p:spPr>
            <a:xfrm flipH="1">
              <a:off x="8153875" y="1319396"/>
              <a:ext cx="1339464" cy="543415"/>
            </a:xfrm>
            <a:prstGeom prst="straightConnector1">
              <a:avLst/>
            </a:prstGeom>
            <a:ln w="28575">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E7BF8B8-9F19-9192-BC72-0B051198976A}"/>
                </a:ext>
              </a:extLst>
            </p:cNvPr>
            <p:cNvCxnSpPr>
              <a:cxnSpLocks/>
            </p:cNvCxnSpPr>
            <p:nvPr/>
          </p:nvCxnSpPr>
          <p:spPr>
            <a:xfrm flipH="1">
              <a:off x="8433958" y="2260600"/>
              <a:ext cx="907474" cy="193113"/>
            </a:xfrm>
            <a:prstGeom prst="straightConnector1">
              <a:avLst/>
            </a:prstGeom>
            <a:ln w="28575">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52" name="Group 1051">
            <a:extLst>
              <a:ext uri="{FF2B5EF4-FFF2-40B4-BE49-F238E27FC236}">
                <a16:creationId xmlns:a16="http://schemas.microsoft.com/office/drawing/2014/main" id="{D51C01BA-9D51-B61C-C4BE-B8FB682E89C3}"/>
              </a:ext>
            </a:extLst>
          </p:cNvPr>
          <p:cNvGrpSpPr/>
          <p:nvPr/>
        </p:nvGrpSpPr>
        <p:grpSpPr>
          <a:xfrm>
            <a:off x="2463913" y="2365167"/>
            <a:ext cx="261000" cy="137160"/>
            <a:chOff x="2463913" y="2365167"/>
            <a:chExt cx="261000" cy="137160"/>
          </a:xfrm>
        </p:grpSpPr>
        <mc:AlternateContent xmlns:mc="http://schemas.openxmlformats.org/markup-compatibility/2006">
          <mc:Choice xmlns:p14="http://schemas.microsoft.com/office/powerpoint/2010/main" Requires="p14">
            <p:contentPart p14:bwMode="auto" r:id="rId38">
              <p14:nvContentPartPr>
                <p14:cNvPr id="53" name="Ink 52">
                  <a:extLst>
                    <a:ext uri="{FF2B5EF4-FFF2-40B4-BE49-F238E27FC236}">
                      <a16:creationId xmlns:a16="http://schemas.microsoft.com/office/drawing/2014/main" id="{D625C03A-4C38-2D5B-7276-DAF09A2C9CEB}"/>
                    </a:ext>
                  </a:extLst>
                </p14:cNvPr>
                <p14:cNvContentPartPr/>
                <p14:nvPr/>
              </p14:nvContentPartPr>
              <p14:xfrm>
                <a:off x="2473993" y="2391807"/>
                <a:ext cx="58320" cy="38160"/>
              </p14:xfrm>
            </p:contentPart>
          </mc:Choice>
          <mc:Fallback>
            <p:pic>
              <p:nvPicPr>
                <p:cNvPr id="53" name="Ink 52">
                  <a:extLst>
                    <a:ext uri="{FF2B5EF4-FFF2-40B4-BE49-F238E27FC236}">
                      <a16:creationId xmlns:a16="http://schemas.microsoft.com/office/drawing/2014/main" id="{D625C03A-4C38-2D5B-7276-DAF09A2C9CEB}"/>
                    </a:ext>
                  </a:extLst>
                </p:cNvPr>
                <p:cNvPicPr/>
                <p:nvPr/>
              </p:nvPicPr>
              <p:blipFill>
                <a:blip r:embed="rId39"/>
                <a:stretch>
                  <a:fillRect/>
                </a:stretch>
              </p:blipFill>
              <p:spPr>
                <a:xfrm>
                  <a:off x="2465353" y="2383167"/>
                  <a:ext cx="7596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54" name="Ink 53">
                  <a:extLst>
                    <a:ext uri="{FF2B5EF4-FFF2-40B4-BE49-F238E27FC236}">
                      <a16:creationId xmlns:a16="http://schemas.microsoft.com/office/drawing/2014/main" id="{DA84E4F6-7CD5-9FCA-BC4C-6A57AC0BFCF7}"/>
                    </a:ext>
                  </a:extLst>
                </p14:cNvPr>
                <p14:cNvContentPartPr/>
                <p14:nvPr/>
              </p14:nvContentPartPr>
              <p14:xfrm>
                <a:off x="2491273" y="2394687"/>
                <a:ext cx="83160" cy="76680"/>
              </p14:xfrm>
            </p:contentPart>
          </mc:Choice>
          <mc:Fallback>
            <p:pic>
              <p:nvPicPr>
                <p:cNvPr id="54" name="Ink 53">
                  <a:extLst>
                    <a:ext uri="{FF2B5EF4-FFF2-40B4-BE49-F238E27FC236}">
                      <a16:creationId xmlns:a16="http://schemas.microsoft.com/office/drawing/2014/main" id="{DA84E4F6-7CD5-9FCA-BC4C-6A57AC0BFCF7}"/>
                    </a:ext>
                  </a:extLst>
                </p:cNvPr>
                <p:cNvPicPr/>
                <p:nvPr/>
              </p:nvPicPr>
              <p:blipFill>
                <a:blip r:embed="rId41"/>
                <a:stretch>
                  <a:fillRect/>
                </a:stretch>
              </p:blipFill>
              <p:spPr>
                <a:xfrm>
                  <a:off x="2482273" y="2385687"/>
                  <a:ext cx="100800" cy="9432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55" name="Ink 54">
                  <a:extLst>
                    <a:ext uri="{FF2B5EF4-FFF2-40B4-BE49-F238E27FC236}">
                      <a16:creationId xmlns:a16="http://schemas.microsoft.com/office/drawing/2014/main" id="{DCEE7421-6DDB-0712-84DE-243AE503A47D}"/>
                    </a:ext>
                  </a:extLst>
                </p14:cNvPr>
                <p14:cNvContentPartPr/>
                <p14:nvPr/>
              </p14:nvContentPartPr>
              <p14:xfrm>
                <a:off x="2488753" y="2394687"/>
                <a:ext cx="97920" cy="83520"/>
              </p14:xfrm>
            </p:contentPart>
          </mc:Choice>
          <mc:Fallback>
            <p:pic>
              <p:nvPicPr>
                <p:cNvPr id="55" name="Ink 54">
                  <a:extLst>
                    <a:ext uri="{FF2B5EF4-FFF2-40B4-BE49-F238E27FC236}">
                      <a16:creationId xmlns:a16="http://schemas.microsoft.com/office/drawing/2014/main" id="{DCEE7421-6DDB-0712-84DE-243AE503A47D}"/>
                    </a:ext>
                  </a:extLst>
                </p:cNvPr>
                <p:cNvPicPr/>
                <p:nvPr/>
              </p:nvPicPr>
              <p:blipFill>
                <a:blip r:embed="rId43"/>
                <a:stretch>
                  <a:fillRect/>
                </a:stretch>
              </p:blipFill>
              <p:spPr>
                <a:xfrm>
                  <a:off x="2479753" y="2385687"/>
                  <a:ext cx="115560" cy="10116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56" name="Ink 55">
                  <a:extLst>
                    <a:ext uri="{FF2B5EF4-FFF2-40B4-BE49-F238E27FC236}">
                      <a16:creationId xmlns:a16="http://schemas.microsoft.com/office/drawing/2014/main" id="{4326B822-6B70-694B-D64F-DEBBDCD21521}"/>
                    </a:ext>
                  </a:extLst>
                </p14:cNvPr>
                <p14:cNvContentPartPr/>
                <p14:nvPr/>
              </p14:nvContentPartPr>
              <p14:xfrm>
                <a:off x="2481193" y="2382447"/>
                <a:ext cx="91080" cy="84960"/>
              </p14:xfrm>
            </p:contentPart>
          </mc:Choice>
          <mc:Fallback>
            <p:pic>
              <p:nvPicPr>
                <p:cNvPr id="56" name="Ink 55">
                  <a:extLst>
                    <a:ext uri="{FF2B5EF4-FFF2-40B4-BE49-F238E27FC236}">
                      <a16:creationId xmlns:a16="http://schemas.microsoft.com/office/drawing/2014/main" id="{4326B822-6B70-694B-D64F-DEBBDCD21521}"/>
                    </a:ext>
                  </a:extLst>
                </p:cNvPr>
                <p:cNvPicPr/>
                <p:nvPr/>
              </p:nvPicPr>
              <p:blipFill>
                <a:blip r:embed="rId45"/>
                <a:stretch>
                  <a:fillRect/>
                </a:stretch>
              </p:blipFill>
              <p:spPr>
                <a:xfrm>
                  <a:off x="2472553" y="2373807"/>
                  <a:ext cx="10872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57" name="Ink 56">
                  <a:extLst>
                    <a:ext uri="{FF2B5EF4-FFF2-40B4-BE49-F238E27FC236}">
                      <a16:creationId xmlns:a16="http://schemas.microsoft.com/office/drawing/2014/main" id="{F3C1704B-674C-A21D-F364-4FE97F586F43}"/>
                    </a:ext>
                  </a:extLst>
                </p14:cNvPr>
                <p14:cNvContentPartPr/>
                <p14:nvPr/>
              </p14:nvContentPartPr>
              <p14:xfrm>
                <a:off x="2481553" y="2387847"/>
                <a:ext cx="64440" cy="52920"/>
              </p14:xfrm>
            </p:contentPart>
          </mc:Choice>
          <mc:Fallback>
            <p:pic>
              <p:nvPicPr>
                <p:cNvPr id="57" name="Ink 56">
                  <a:extLst>
                    <a:ext uri="{FF2B5EF4-FFF2-40B4-BE49-F238E27FC236}">
                      <a16:creationId xmlns:a16="http://schemas.microsoft.com/office/drawing/2014/main" id="{F3C1704B-674C-A21D-F364-4FE97F586F43}"/>
                    </a:ext>
                  </a:extLst>
                </p:cNvPr>
                <p:cNvPicPr/>
                <p:nvPr/>
              </p:nvPicPr>
              <p:blipFill>
                <a:blip r:embed="rId47"/>
                <a:stretch>
                  <a:fillRect/>
                </a:stretch>
              </p:blipFill>
              <p:spPr>
                <a:xfrm>
                  <a:off x="2472913" y="2379207"/>
                  <a:ext cx="82080" cy="7056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58" name="Ink 57">
                  <a:extLst>
                    <a:ext uri="{FF2B5EF4-FFF2-40B4-BE49-F238E27FC236}">
                      <a16:creationId xmlns:a16="http://schemas.microsoft.com/office/drawing/2014/main" id="{30B1E498-648D-5674-EA85-6E678A152FA2}"/>
                    </a:ext>
                  </a:extLst>
                </p14:cNvPr>
                <p14:cNvContentPartPr/>
                <p14:nvPr/>
              </p14:nvContentPartPr>
              <p14:xfrm>
                <a:off x="2472553" y="2383527"/>
                <a:ext cx="108000" cy="88920"/>
              </p14:xfrm>
            </p:contentPart>
          </mc:Choice>
          <mc:Fallback>
            <p:pic>
              <p:nvPicPr>
                <p:cNvPr id="58" name="Ink 57">
                  <a:extLst>
                    <a:ext uri="{FF2B5EF4-FFF2-40B4-BE49-F238E27FC236}">
                      <a16:creationId xmlns:a16="http://schemas.microsoft.com/office/drawing/2014/main" id="{30B1E498-648D-5674-EA85-6E678A152FA2}"/>
                    </a:ext>
                  </a:extLst>
                </p:cNvPr>
                <p:cNvPicPr/>
                <p:nvPr/>
              </p:nvPicPr>
              <p:blipFill>
                <a:blip r:embed="rId49"/>
                <a:stretch>
                  <a:fillRect/>
                </a:stretch>
              </p:blipFill>
              <p:spPr>
                <a:xfrm>
                  <a:off x="2463913" y="2374527"/>
                  <a:ext cx="125640" cy="106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59" name="Ink 58">
                  <a:extLst>
                    <a:ext uri="{FF2B5EF4-FFF2-40B4-BE49-F238E27FC236}">
                      <a16:creationId xmlns:a16="http://schemas.microsoft.com/office/drawing/2014/main" id="{43974354-3A80-3D64-BF71-DF848C2F6F02}"/>
                    </a:ext>
                  </a:extLst>
                </p14:cNvPr>
                <p14:cNvContentPartPr/>
                <p14:nvPr/>
              </p14:nvContentPartPr>
              <p14:xfrm>
                <a:off x="2471833" y="2390727"/>
                <a:ext cx="102240" cy="101160"/>
              </p14:xfrm>
            </p:contentPart>
          </mc:Choice>
          <mc:Fallback>
            <p:pic>
              <p:nvPicPr>
                <p:cNvPr id="59" name="Ink 58">
                  <a:extLst>
                    <a:ext uri="{FF2B5EF4-FFF2-40B4-BE49-F238E27FC236}">
                      <a16:creationId xmlns:a16="http://schemas.microsoft.com/office/drawing/2014/main" id="{43974354-3A80-3D64-BF71-DF848C2F6F02}"/>
                    </a:ext>
                  </a:extLst>
                </p:cNvPr>
                <p:cNvPicPr/>
                <p:nvPr/>
              </p:nvPicPr>
              <p:blipFill>
                <a:blip r:embed="rId51"/>
                <a:stretch>
                  <a:fillRect/>
                </a:stretch>
              </p:blipFill>
              <p:spPr>
                <a:xfrm>
                  <a:off x="2463193" y="2382087"/>
                  <a:ext cx="119880" cy="1188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60" name="Ink 59">
                  <a:extLst>
                    <a:ext uri="{FF2B5EF4-FFF2-40B4-BE49-F238E27FC236}">
                      <a16:creationId xmlns:a16="http://schemas.microsoft.com/office/drawing/2014/main" id="{7C15A9B5-5998-3C5D-E7ED-7C04141AB962}"/>
                    </a:ext>
                  </a:extLst>
                </p14:cNvPr>
                <p14:cNvContentPartPr/>
                <p14:nvPr/>
              </p14:nvContentPartPr>
              <p14:xfrm>
                <a:off x="2488033" y="2385327"/>
                <a:ext cx="73080" cy="72720"/>
              </p14:xfrm>
            </p:contentPart>
          </mc:Choice>
          <mc:Fallback>
            <p:pic>
              <p:nvPicPr>
                <p:cNvPr id="60" name="Ink 59">
                  <a:extLst>
                    <a:ext uri="{FF2B5EF4-FFF2-40B4-BE49-F238E27FC236}">
                      <a16:creationId xmlns:a16="http://schemas.microsoft.com/office/drawing/2014/main" id="{7C15A9B5-5998-3C5D-E7ED-7C04141AB962}"/>
                    </a:ext>
                  </a:extLst>
                </p:cNvPr>
                <p:cNvPicPr/>
                <p:nvPr/>
              </p:nvPicPr>
              <p:blipFill>
                <a:blip r:embed="rId53"/>
                <a:stretch>
                  <a:fillRect/>
                </a:stretch>
              </p:blipFill>
              <p:spPr>
                <a:xfrm>
                  <a:off x="2479033" y="2376327"/>
                  <a:ext cx="90720" cy="903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62" name="Ink 61">
                  <a:extLst>
                    <a:ext uri="{FF2B5EF4-FFF2-40B4-BE49-F238E27FC236}">
                      <a16:creationId xmlns:a16="http://schemas.microsoft.com/office/drawing/2014/main" id="{EBB2A863-BEBF-08F8-2D6C-7E18B32E7FC1}"/>
                    </a:ext>
                  </a:extLst>
                </p14:cNvPr>
                <p14:cNvContentPartPr/>
                <p14:nvPr/>
              </p14:nvContentPartPr>
              <p14:xfrm>
                <a:off x="2488033" y="2378127"/>
                <a:ext cx="84240" cy="86040"/>
              </p14:xfrm>
            </p:contentPart>
          </mc:Choice>
          <mc:Fallback>
            <p:pic>
              <p:nvPicPr>
                <p:cNvPr id="62" name="Ink 61">
                  <a:extLst>
                    <a:ext uri="{FF2B5EF4-FFF2-40B4-BE49-F238E27FC236}">
                      <a16:creationId xmlns:a16="http://schemas.microsoft.com/office/drawing/2014/main" id="{EBB2A863-BEBF-08F8-2D6C-7E18B32E7FC1}"/>
                    </a:ext>
                  </a:extLst>
                </p:cNvPr>
                <p:cNvPicPr/>
                <p:nvPr/>
              </p:nvPicPr>
              <p:blipFill>
                <a:blip r:embed="rId55"/>
                <a:stretch>
                  <a:fillRect/>
                </a:stretch>
              </p:blipFill>
              <p:spPr>
                <a:xfrm>
                  <a:off x="2479033" y="2369487"/>
                  <a:ext cx="101880" cy="1036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63" name="Ink 62">
                  <a:extLst>
                    <a:ext uri="{FF2B5EF4-FFF2-40B4-BE49-F238E27FC236}">
                      <a16:creationId xmlns:a16="http://schemas.microsoft.com/office/drawing/2014/main" id="{40CE7E33-F0B8-0956-F1DC-743608C8D36B}"/>
                    </a:ext>
                  </a:extLst>
                </p14:cNvPr>
                <p14:cNvContentPartPr/>
                <p14:nvPr/>
              </p14:nvContentPartPr>
              <p14:xfrm>
                <a:off x="2468953" y="2365167"/>
                <a:ext cx="12240" cy="32760"/>
              </p14:xfrm>
            </p:contentPart>
          </mc:Choice>
          <mc:Fallback>
            <p:pic>
              <p:nvPicPr>
                <p:cNvPr id="63" name="Ink 62">
                  <a:extLst>
                    <a:ext uri="{FF2B5EF4-FFF2-40B4-BE49-F238E27FC236}">
                      <a16:creationId xmlns:a16="http://schemas.microsoft.com/office/drawing/2014/main" id="{40CE7E33-F0B8-0956-F1DC-743608C8D36B}"/>
                    </a:ext>
                  </a:extLst>
                </p:cNvPr>
                <p:cNvPicPr/>
                <p:nvPr/>
              </p:nvPicPr>
              <p:blipFill>
                <a:blip r:embed="rId57"/>
                <a:stretch>
                  <a:fillRect/>
                </a:stretch>
              </p:blipFill>
              <p:spPr>
                <a:xfrm>
                  <a:off x="2459953" y="2356527"/>
                  <a:ext cx="29880" cy="5040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1025" name="Ink 1024">
                  <a:extLst>
                    <a:ext uri="{FF2B5EF4-FFF2-40B4-BE49-F238E27FC236}">
                      <a16:creationId xmlns:a16="http://schemas.microsoft.com/office/drawing/2014/main" id="{235F0E1D-22A7-44B9-CD40-BDCAFDEE37B7}"/>
                    </a:ext>
                  </a:extLst>
                </p14:cNvPr>
                <p14:cNvContentPartPr/>
                <p14:nvPr/>
              </p14:nvContentPartPr>
              <p14:xfrm>
                <a:off x="2484433" y="2368767"/>
                <a:ext cx="34560" cy="34560"/>
              </p14:xfrm>
            </p:contentPart>
          </mc:Choice>
          <mc:Fallback>
            <p:pic>
              <p:nvPicPr>
                <p:cNvPr id="1025" name="Ink 1024">
                  <a:extLst>
                    <a:ext uri="{FF2B5EF4-FFF2-40B4-BE49-F238E27FC236}">
                      <a16:creationId xmlns:a16="http://schemas.microsoft.com/office/drawing/2014/main" id="{235F0E1D-22A7-44B9-CD40-BDCAFDEE37B7}"/>
                    </a:ext>
                  </a:extLst>
                </p:cNvPr>
                <p:cNvPicPr/>
                <p:nvPr/>
              </p:nvPicPr>
              <p:blipFill>
                <a:blip r:embed="rId59"/>
                <a:stretch>
                  <a:fillRect/>
                </a:stretch>
              </p:blipFill>
              <p:spPr>
                <a:xfrm>
                  <a:off x="2475433" y="2360127"/>
                  <a:ext cx="5220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1026" name="Ink 1025">
                  <a:extLst>
                    <a:ext uri="{FF2B5EF4-FFF2-40B4-BE49-F238E27FC236}">
                      <a16:creationId xmlns:a16="http://schemas.microsoft.com/office/drawing/2014/main" id="{BD21ABC5-1D4A-5AEC-667C-A15BD462B3B3}"/>
                    </a:ext>
                  </a:extLst>
                </p14:cNvPr>
                <p14:cNvContentPartPr/>
                <p14:nvPr/>
              </p14:nvContentPartPr>
              <p14:xfrm>
                <a:off x="2578033" y="2462007"/>
                <a:ext cx="9360" cy="27360"/>
              </p14:xfrm>
            </p:contentPart>
          </mc:Choice>
          <mc:Fallback>
            <p:pic>
              <p:nvPicPr>
                <p:cNvPr id="1026" name="Ink 1025">
                  <a:extLst>
                    <a:ext uri="{FF2B5EF4-FFF2-40B4-BE49-F238E27FC236}">
                      <a16:creationId xmlns:a16="http://schemas.microsoft.com/office/drawing/2014/main" id="{BD21ABC5-1D4A-5AEC-667C-A15BD462B3B3}"/>
                    </a:ext>
                  </a:extLst>
                </p:cNvPr>
                <p:cNvPicPr/>
                <p:nvPr/>
              </p:nvPicPr>
              <p:blipFill>
                <a:blip r:embed="rId61"/>
                <a:stretch>
                  <a:fillRect/>
                </a:stretch>
              </p:blipFill>
              <p:spPr>
                <a:xfrm>
                  <a:off x="2569393" y="2453007"/>
                  <a:ext cx="27000" cy="4500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1027" name="Ink 1026">
                  <a:extLst>
                    <a:ext uri="{FF2B5EF4-FFF2-40B4-BE49-F238E27FC236}">
                      <a16:creationId xmlns:a16="http://schemas.microsoft.com/office/drawing/2014/main" id="{51A199FC-48A1-79F5-1E00-D502615F0DD7}"/>
                    </a:ext>
                  </a:extLst>
                </p14:cNvPr>
                <p14:cNvContentPartPr/>
                <p14:nvPr/>
              </p14:nvContentPartPr>
              <p14:xfrm>
                <a:off x="2580913" y="2458047"/>
                <a:ext cx="3240" cy="25200"/>
              </p14:xfrm>
            </p:contentPart>
          </mc:Choice>
          <mc:Fallback>
            <p:pic>
              <p:nvPicPr>
                <p:cNvPr id="1027" name="Ink 1026">
                  <a:extLst>
                    <a:ext uri="{FF2B5EF4-FFF2-40B4-BE49-F238E27FC236}">
                      <a16:creationId xmlns:a16="http://schemas.microsoft.com/office/drawing/2014/main" id="{51A199FC-48A1-79F5-1E00-D502615F0DD7}"/>
                    </a:ext>
                  </a:extLst>
                </p:cNvPr>
                <p:cNvPicPr/>
                <p:nvPr/>
              </p:nvPicPr>
              <p:blipFill>
                <a:blip r:embed="rId63"/>
                <a:stretch>
                  <a:fillRect/>
                </a:stretch>
              </p:blipFill>
              <p:spPr>
                <a:xfrm>
                  <a:off x="2572273" y="2449407"/>
                  <a:ext cx="20880" cy="4284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1029" name="Ink 1028">
                  <a:extLst>
                    <a:ext uri="{FF2B5EF4-FFF2-40B4-BE49-F238E27FC236}">
                      <a16:creationId xmlns:a16="http://schemas.microsoft.com/office/drawing/2014/main" id="{719F5F91-F266-673E-4968-AF74501A79AA}"/>
                    </a:ext>
                  </a:extLst>
                </p14:cNvPr>
                <p14:cNvContentPartPr/>
                <p14:nvPr/>
              </p14:nvContentPartPr>
              <p14:xfrm>
                <a:off x="2551033" y="2434287"/>
                <a:ext cx="38520" cy="32760"/>
              </p14:xfrm>
            </p:contentPart>
          </mc:Choice>
          <mc:Fallback>
            <p:pic>
              <p:nvPicPr>
                <p:cNvPr id="1029" name="Ink 1028">
                  <a:extLst>
                    <a:ext uri="{FF2B5EF4-FFF2-40B4-BE49-F238E27FC236}">
                      <a16:creationId xmlns:a16="http://schemas.microsoft.com/office/drawing/2014/main" id="{719F5F91-F266-673E-4968-AF74501A79AA}"/>
                    </a:ext>
                  </a:extLst>
                </p:cNvPr>
                <p:cNvPicPr/>
                <p:nvPr/>
              </p:nvPicPr>
              <p:blipFill>
                <a:blip r:embed="rId65"/>
                <a:stretch>
                  <a:fillRect/>
                </a:stretch>
              </p:blipFill>
              <p:spPr>
                <a:xfrm>
                  <a:off x="2542033" y="2425287"/>
                  <a:ext cx="56160" cy="5040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1030" name="Ink 1029">
                  <a:extLst>
                    <a:ext uri="{FF2B5EF4-FFF2-40B4-BE49-F238E27FC236}">
                      <a16:creationId xmlns:a16="http://schemas.microsoft.com/office/drawing/2014/main" id="{14733BB7-F696-DD33-6B23-D90CFAACDB4E}"/>
                    </a:ext>
                  </a:extLst>
                </p14:cNvPr>
                <p14:cNvContentPartPr/>
                <p14:nvPr/>
              </p14:nvContentPartPr>
              <p14:xfrm>
                <a:off x="2568673" y="2446167"/>
                <a:ext cx="24480" cy="56160"/>
              </p14:xfrm>
            </p:contentPart>
          </mc:Choice>
          <mc:Fallback>
            <p:pic>
              <p:nvPicPr>
                <p:cNvPr id="1030" name="Ink 1029">
                  <a:extLst>
                    <a:ext uri="{FF2B5EF4-FFF2-40B4-BE49-F238E27FC236}">
                      <a16:creationId xmlns:a16="http://schemas.microsoft.com/office/drawing/2014/main" id="{14733BB7-F696-DD33-6B23-D90CFAACDB4E}"/>
                    </a:ext>
                  </a:extLst>
                </p:cNvPr>
                <p:cNvPicPr/>
                <p:nvPr/>
              </p:nvPicPr>
              <p:blipFill>
                <a:blip r:embed="rId67"/>
                <a:stretch>
                  <a:fillRect/>
                </a:stretch>
              </p:blipFill>
              <p:spPr>
                <a:xfrm>
                  <a:off x="2560033" y="2437527"/>
                  <a:ext cx="42120" cy="7380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1031" name="Ink 1030">
                  <a:extLst>
                    <a:ext uri="{FF2B5EF4-FFF2-40B4-BE49-F238E27FC236}">
                      <a16:creationId xmlns:a16="http://schemas.microsoft.com/office/drawing/2014/main" id="{BE3F652D-70C7-EAC8-ECBE-9B499480A708}"/>
                    </a:ext>
                  </a:extLst>
                </p14:cNvPr>
                <p14:cNvContentPartPr/>
                <p14:nvPr/>
              </p14:nvContentPartPr>
              <p14:xfrm>
                <a:off x="2463913" y="2365167"/>
                <a:ext cx="25200" cy="48240"/>
              </p14:xfrm>
            </p:contentPart>
          </mc:Choice>
          <mc:Fallback>
            <p:pic>
              <p:nvPicPr>
                <p:cNvPr id="1031" name="Ink 1030">
                  <a:extLst>
                    <a:ext uri="{FF2B5EF4-FFF2-40B4-BE49-F238E27FC236}">
                      <a16:creationId xmlns:a16="http://schemas.microsoft.com/office/drawing/2014/main" id="{BE3F652D-70C7-EAC8-ECBE-9B499480A708}"/>
                    </a:ext>
                  </a:extLst>
                </p:cNvPr>
                <p:cNvPicPr/>
                <p:nvPr/>
              </p:nvPicPr>
              <p:blipFill>
                <a:blip r:embed="rId69"/>
                <a:stretch>
                  <a:fillRect/>
                </a:stretch>
              </p:blipFill>
              <p:spPr>
                <a:xfrm>
                  <a:off x="2454913" y="2356167"/>
                  <a:ext cx="42840" cy="6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1042" name="Ink 1041">
                  <a:extLst>
                    <a:ext uri="{FF2B5EF4-FFF2-40B4-BE49-F238E27FC236}">
                      <a16:creationId xmlns:a16="http://schemas.microsoft.com/office/drawing/2014/main" id="{C00F1554-6758-EBF9-0EF4-5D5146A87013}"/>
                    </a:ext>
                  </a:extLst>
                </p14:cNvPr>
                <p14:cNvContentPartPr/>
                <p14:nvPr/>
              </p14:nvContentPartPr>
              <p14:xfrm>
                <a:off x="2639233" y="2418807"/>
                <a:ext cx="82800" cy="72360"/>
              </p14:xfrm>
            </p:contentPart>
          </mc:Choice>
          <mc:Fallback>
            <p:pic>
              <p:nvPicPr>
                <p:cNvPr id="1042" name="Ink 1041">
                  <a:extLst>
                    <a:ext uri="{FF2B5EF4-FFF2-40B4-BE49-F238E27FC236}">
                      <a16:creationId xmlns:a16="http://schemas.microsoft.com/office/drawing/2014/main" id="{C00F1554-6758-EBF9-0EF4-5D5146A87013}"/>
                    </a:ext>
                  </a:extLst>
                </p:cNvPr>
                <p:cNvPicPr/>
                <p:nvPr/>
              </p:nvPicPr>
              <p:blipFill>
                <a:blip r:embed="rId71"/>
                <a:stretch>
                  <a:fillRect/>
                </a:stretch>
              </p:blipFill>
              <p:spPr>
                <a:xfrm>
                  <a:off x="2630593" y="2409807"/>
                  <a:ext cx="100440" cy="9000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1043" name="Ink 1042">
                  <a:extLst>
                    <a:ext uri="{FF2B5EF4-FFF2-40B4-BE49-F238E27FC236}">
                      <a16:creationId xmlns:a16="http://schemas.microsoft.com/office/drawing/2014/main" id="{115D1E03-7E04-6D61-34C3-B5A1CBE510EA}"/>
                    </a:ext>
                  </a:extLst>
                </p14:cNvPr>
                <p14:cNvContentPartPr/>
                <p14:nvPr/>
              </p14:nvContentPartPr>
              <p14:xfrm>
                <a:off x="2640673" y="2465967"/>
                <a:ext cx="6120" cy="27000"/>
              </p14:xfrm>
            </p:contentPart>
          </mc:Choice>
          <mc:Fallback>
            <p:pic>
              <p:nvPicPr>
                <p:cNvPr id="1043" name="Ink 1042">
                  <a:extLst>
                    <a:ext uri="{FF2B5EF4-FFF2-40B4-BE49-F238E27FC236}">
                      <a16:creationId xmlns:a16="http://schemas.microsoft.com/office/drawing/2014/main" id="{115D1E03-7E04-6D61-34C3-B5A1CBE510EA}"/>
                    </a:ext>
                  </a:extLst>
                </p:cNvPr>
                <p:cNvPicPr/>
                <p:nvPr/>
              </p:nvPicPr>
              <p:blipFill>
                <a:blip r:embed="rId73"/>
                <a:stretch>
                  <a:fillRect/>
                </a:stretch>
              </p:blipFill>
              <p:spPr>
                <a:xfrm>
                  <a:off x="2632033" y="2456967"/>
                  <a:ext cx="23760" cy="4464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1044" name="Ink 1043">
                  <a:extLst>
                    <a:ext uri="{FF2B5EF4-FFF2-40B4-BE49-F238E27FC236}">
                      <a16:creationId xmlns:a16="http://schemas.microsoft.com/office/drawing/2014/main" id="{719C8F7C-A467-DD4E-3619-D08188F125E9}"/>
                    </a:ext>
                  </a:extLst>
                </p14:cNvPr>
                <p14:cNvContentPartPr/>
                <p14:nvPr/>
              </p14:nvContentPartPr>
              <p14:xfrm>
                <a:off x="2713393" y="2423487"/>
                <a:ext cx="11520" cy="27000"/>
              </p14:xfrm>
            </p:contentPart>
          </mc:Choice>
          <mc:Fallback>
            <p:pic>
              <p:nvPicPr>
                <p:cNvPr id="1044" name="Ink 1043">
                  <a:extLst>
                    <a:ext uri="{FF2B5EF4-FFF2-40B4-BE49-F238E27FC236}">
                      <a16:creationId xmlns:a16="http://schemas.microsoft.com/office/drawing/2014/main" id="{719C8F7C-A467-DD4E-3619-D08188F125E9}"/>
                    </a:ext>
                  </a:extLst>
                </p:cNvPr>
                <p:cNvPicPr/>
                <p:nvPr/>
              </p:nvPicPr>
              <p:blipFill>
                <a:blip r:embed="rId75"/>
                <a:stretch>
                  <a:fillRect/>
                </a:stretch>
              </p:blipFill>
              <p:spPr>
                <a:xfrm>
                  <a:off x="2704393" y="2414847"/>
                  <a:ext cx="29160" cy="4464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077377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23A82922-25E0-A1EB-BB63-7C154753F48A}"/>
              </a:ext>
            </a:extLst>
          </p:cNvPr>
          <p:cNvGrpSpPr/>
          <p:nvPr/>
        </p:nvGrpSpPr>
        <p:grpSpPr>
          <a:xfrm>
            <a:off x="3517424" y="1342940"/>
            <a:ext cx="2884485" cy="2275649"/>
            <a:chOff x="3517424" y="1342940"/>
            <a:chExt cx="2884485" cy="2275649"/>
          </a:xfrm>
        </p:grpSpPr>
        <p:pic>
          <p:nvPicPr>
            <p:cNvPr id="19" name="Picture 2" descr="Motion Planning in a Simulated 6DoF Robotic Arm - Conn Bots">
              <a:extLst>
                <a:ext uri="{FF2B5EF4-FFF2-40B4-BE49-F238E27FC236}">
                  <a16:creationId xmlns:a16="http://schemas.microsoft.com/office/drawing/2014/main" id="{55742DCC-C5EE-971E-131C-D8DF066B2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17424" y="1342940"/>
              <a:ext cx="2884485" cy="227564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4F7C04F4-2073-4963-9C2B-86AE50A9284D}"/>
                </a:ext>
              </a:extLst>
            </p:cNvPr>
            <p:cNvSpPr/>
            <p:nvPr/>
          </p:nvSpPr>
          <p:spPr>
            <a:xfrm rot="19398646">
              <a:off x="3568247" y="2302448"/>
              <a:ext cx="716312" cy="624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6"/>
          <a:stretch>
            <a:fillRect/>
          </a:stretch>
        </p:blipFill>
        <p:spPr>
          <a:xfrm>
            <a:off x="-5507969" y="1177686"/>
            <a:ext cx="5210447" cy="4907136"/>
          </a:xfrm>
          <a:prstGeom prst="rect">
            <a:avLst/>
          </a:prstGeom>
        </p:spPr>
      </p:pic>
      <p:grpSp>
        <p:nvGrpSpPr>
          <p:cNvPr id="17" name="Group 16">
            <a:extLst>
              <a:ext uri="{FF2B5EF4-FFF2-40B4-BE49-F238E27FC236}">
                <a16:creationId xmlns:a16="http://schemas.microsoft.com/office/drawing/2014/main" id="{41BEF765-C32B-FAB2-0471-26E82E25E3B6}"/>
              </a:ext>
            </a:extLst>
          </p:cNvPr>
          <p:cNvGrpSpPr/>
          <p:nvPr/>
        </p:nvGrpSpPr>
        <p:grpSpPr>
          <a:xfrm>
            <a:off x="6099822" y="1396362"/>
            <a:ext cx="4037054" cy="2738244"/>
            <a:chOff x="6814424" y="2063217"/>
            <a:chExt cx="4037054" cy="2738244"/>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7"/>
            <a:stretch>
              <a:fillRect/>
            </a:stretch>
          </p:blipFill>
          <p:spPr>
            <a:xfrm>
              <a:off x="6814424" y="2063217"/>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8"/>
            <a:stretch>
              <a:fillRect/>
            </a:stretch>
          </p:blipFill>
          <p:spPr>
            <a:xfrm>
              <a:off x="9254548" y="3892440"/>
              <a:ext cx="1596930" cy="909021"/>
            </a:xfrm>
            <a:prstGeom prst="rect">
              <a:avLst/>
            </a:prstGeom>
          </p:spPr>
        </p:pic>
      </p:grpSp>
      <p:sp>
        <p:nvSpPr>
          <p:cNvPr id="13" name="TextBox 12">
            <a:extLst>
              <a:ext uri="{FF2B5EF4-FFF2-40B4-BE49-F238E27FC236}">
                <a16:creationId xmlns:a16="http://schemas.microsoft.com/office/drawing/2014/main" id="{C33D20E0-D1AD-A00C-ED46-FEC23AB25051}"/>
              </a:ext>
            </a:extLst>
          </p:cNvPr>
          <p:cNvSpPr txBox="1"/>
          <p:nvPr/>
        </p:nvSpPr>
        <p:spPr>
          <a:xfrm>
            <a:off x="412301" y="4902173"/>
            <a:ext cx="11309799" cy="1400383"/>
          </a:xfrm>
          <a:prstGeom prst="rect">
            <a:avLst/>
          </a:prstGeom>
          <a:noFill/>
        </p:spPr>
        <p:txBody>
          <a:bodyPr wrap="square">
            <a:spAutoFit/>
          </a:bodyPr>
          <a:lstStyle/>
          <a:p>
            <a:pPr marL="171450" indent="-171450" algn="l">
              <a:spcAft>
                <a:spcPts val="300"/>
              </a:spcAft>
              <a:buFont typeface="Arial" panose="020B0604020202020204" pitchFamily="34" charset="0"/>
              <a:buChar char="•"/>
            </a:pPr>
            <a:r>
              <a:rPr lang="en-US" sz="1600" b="0" i="0" u="none" strike="noStrike" baseline="0" dirty="0">
                <a:latin typeface="Calibri" panose="020F0502020204030204" pitchFamily="34" charset="0"/>
                <a:cs typeface="Calibri" panose="020F0502020204030204" pitchFamily="34" charset="0"/>
              </a:rPr>
              <a:t>One key difference between the differential drive robot and our design is that the wheels are replaced by external permanent magnets mounted on actuators such as the end-effector of a 6-DOF robotic arm</a:t>
            </a:r>
          </a:p>
          <a:p>
            <a:pPr marL="171450" indent="-171450">
              <a:spcAft>
                <a:spcPts val="300"/>
              </a:spcAft>
              <a:buFont typeface="Arial" panose="020B0604020202020204" pitchFamily="34" charset="0"/>
              <a:buChar char="•"/>
            </a:pPr>
            <a:r>
              <a:rPr lang="en-US" sz="1600" b="0" i="0" u="none" strike="noStrike" baseline="0" dirty="0">
                <a:latin typeface="Calibri" panose="020F0502020204030204" pitchFamily="34" charset="0"/>
                <a:cs typeface="Calibri" panose="020F0502020204030204" pitchFamily="34" charset="0"/>
              </a:rPr>
              <a:t>Robot’s velocity and torque are based on the rotation of the externally mounted magnetic X, Y coils</a:t>
            </a:r>
          </a:p>
          <a:p>
            <a:pPr marL="171450" indent="-171450">
              <a:spcAft>
                <a:spcPts val="3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We choose the 2D analogy as a simplifying assumption, and subsequently our mechanical objective is to maneuver along a path towards a goal point, staying within a maximum acceptable deviation at all waypoints</a:t>
            </a:r>
          </a:p>
        </p:txBody>
      </p:sp>
      <p:grpSp>
        <p:nvGrpSpPr>
          <p:cNvPr id="16" name="Group 15">
            <a:extLst>
              <a:ext uri="{FF2B5EF4-FFF2-40B4-BE49-F238E27FC236}">
                <a16:creationId xmlns:a16="http://schemas.microsoft.com/office/drawing/2014/main" id="{0267FEBF-838D-0BBE-5593-EF8FE040DA8C}"/>
              </a:ext>
            </a:extLst>
          </p:cNvPr>
          <p:cNvGrpSpPr/>
          <p:nvPr/>
        </p:nvGrpSpPr>
        <p:grpSpPr>
          <a:xfrm>
            <a:off x="451933" y="1399721"/>
            <a:ext cx="3888222" cy="3230336"/>
            <a:chOff x="416340" y="1812472"/>
            <a:chExt cx="5080173" cy="4220611"/>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16340" y="2666077"/>
              <a:ext cx="4570453" cy="3367006"/>
              <a:chOff x="1345433" y="3281475"/>
              <a:chExt cx="2295063"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Y</a:t>
                </a:r>
                <a:endParaRPr lang="en-US" sz="1600" baseline="-25000" noProof="0" dirty="0">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345433" y="3281475"/>
                <a:ext cx="1767839" cy="1519628"/>
                <a:chOff x="1345433" y="3281475"/>
                <a:chExt cx="1767839"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345433" y="3281475"/>
                  <a:ext cx="890151" cy="575793"/>
                </a:xfrm>
                <a:prstGeom prst="rect">
                  <a:avLst/>
                </a:prstGeom>
                <a:noFill/>
              </p:spPr>
              <p:txBody>
                <a:bodyPr wrap="square" lIns="0" tIns="0" rIns="0" bIns="0" rtlCol="0">
                  <a:noAutofit/>
                </a:bodyPr>
                <a:lstStyle/>
                <a:p>
                  <a:pPr algn="ctr" defTabSz="228600">
                    <a:spcAft>
                      <a:spcPts val="1200"/>
                    </a:spcAft>
                  </a:pPr>
                  <a:r>
                    <a:rPr lang="en-US" sz="1600" dirty="0">
                      <a:latin typeface="Calibri" panose="020F0502020204030204" pitchFamily="34" charset="0"/>
                      <a:cs typeface="Calibri" panose="020F0502020204030204" pitchFamily="34" charset="0"/>
                    </a:rPr>
                    <a:t>[Optional] Z</a:t>
                  </a:r>
                  <a:endParaRPr lang="en-US" sz="1600" baseline="-25000" noProof="0" dirty="0">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X</a:t>
                </a:r>
                <a:endParaRPr lang="en-US" sz="1600" baseline="-25000" noProof="0" dirty="0">
                  <a:latin typeface="Calibri" panose="020F0502020204030204" pitchFamily="34" charset="0"/>
                  <a:cs typeface="Calibri" panose="020F0502020204030204" pitchFamily="34" charset="0"/>
                </a:endParaRPr>
              </a:p>
            </p:txBody>
          </p:sp>
        </p:grpSp>
        <p:grpSp>
          <p:nvGrpSpPr>
            <p:cNvPr id="15" name="Group 14">
              <a:extLst>
                <a:ext uri="{FF2B5EF4-FFF2-40B4-BE49-F238E27FC236}">
                  <a16:creationId xmlns:a16="http://schemas.microsoft.com/office/drawing/2014/main" id="{0177085C-FF2F-C99F-1335-C3531810AA40}"/>
                </a:ext>
              </a:extLst>
            </p:cNvPr>
            <p:cNvGrpSpPr/>
            <p:nvPr/>
          </p:nvGrpSpPr>
          <p:grpSpPr>
            <a:xfrm>
              <a:off x="2487814" y="1812472"/>
              <a:ext cx="3008699" cy="3710992"/>
              <a:chOff x="2487814" y="1812472"/>
              <a:chExt cx="3008699" cy="3710992"/>
            </a:xfrm>
          </p:grpSpPr>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2499884068"/>
                      </p:ext>
                    </p:extLst>
                  </p:nvPr>
                </p:nvGraphicFramePr>
                <p:xfrm>
                  <a:off x="2487814" y="3445809"/>
                  <a:ext cx="1820432" cy="1693831"/>
                </p:xfrm>
                <a:graphic>
                  <a:graphicData uri="http://schemas.microsoft.com/office/drawing/2017/model3d">
                    <am3d:model3d r:embed="rId9">
                      <am3d:spPr>
                        <a:xfrm>
                          <a:off x="0" y="0"/>
                          <a:ext cx="1393308" cy="1296410"/>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0"/>
                      </am3d:raster>
                      <am3d:objViewport viewportSz="140104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0"/>
                  <a:stretch>
                    <a:fillRect/>
                  </a:stretch>
                </p:blipFill>
                <p:spPr>
                  <a:xfrm>
                    <a:off x="2037381" y="2649831"/>
                    <a:ext cx="1393308" cy="1296410"/>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5" y="2178665"/>
                <a:ext cx="565133" cy="102792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11">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xmlns="">
              <p:pic>
                <p:nvPicPr>
                  <p:cNvPr id="1051" name="Ink 1050">
                    <a:extLst>
                      <a:ext uri="{FF2B5EF4-FFF2-40B4-BE49-F238E27FC236}">
                        <a16:creationId xmlns:a16="http://schemas.microsoft.com/office/drawing/2014/main" id="{41B0C3AB-70FD-42F2-963B-16D9AD6BCEDA}"/>
                      </a:ext>
                    </a:extLst>
                  </p:cNvPr>
                  <p:cNvPicPr/>
                  <p:nvPr/>
                </p:nvPicPr>
                <p:blipFill>
                  <a:blip r:embed="rId12"/>
                  <a:stretch>
                    <a:fillRect/>
                  </a:stretch>
                </p:blipFill>
                <p:spPr>
                  <a:xfrm>
                    <a:off x="3268127" y="4567354"/>
                    <a:ext cx="35308"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xmlns="">
              <p:pic>
                <p:nvPicPr>
                  <p:cNvPr id="1052" name="Ink 1051">
                    <a:extLst>
                      <a:ext uri="{FF2B5EF4-FFF2-40B4-BE49-F238E27FC236}">
                        <a16:creationId xmlns:a16="http://schemas.microsoft.com/office/drawing/2014/main" id="{541B64E6-B10B-AC81-1360-FA5EE726D8C3}"/>
                      </a:ext>
                    </a:extLst>
                  </p:cNvPr>
                  <p:cNvPicPr/>
                  <p:nvPr/>
                </p:nvPicPr>
                <p:blipFill>
                  <a:blip r:embed="rId14"/>
                  <a:stretch>
                    <a:fillRect/>
                  </a:stretch>
                </p:blipFill>
                <p:spPr>
                  <a:xfrm>
                    <a:off x="2993097" y="4303297"/>
                    <a:ext cx="362167" cy="313906"/>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xmlns="">
              <p:pic>
                <p:nvPicPr>
                  <p:cNvPr id="1053" name="Ink 1052">
                    <a:extLst>
                      <a:ext uri="{FF2B5EF4-FFF2-40B4-BE49-F238E27FC236}">
                        <a16:creationId xmlns:a16="http://schemas.microsoft.com/office/drawing/2014/main" id="{C17980EB-9F52-3664-D104-B97F525270CA}"/>
                      </a:ext>
                    </a:extLst>
                  </p:cNvPr>
                  <p:cNvPicPr/>
                  <p:nvPr/>
                </p:nvPicPr>
                <p:blipFill>
                  <a:blip r:embed="rId16"/>
                  <a:stretch>
                    <a:fillRect/>
                  </a:stretch>
                </p:blipFill>
                <p:spPr>
                  <a:xfrm>
                    <a:off x="3033058" y="4345409"/>
                    <a:ext cx="233286" cy="190441"/>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xmlns="">
              <p:pic>
                <p:nvPicPr>
                  <p:cNvPr id="1054" name="Ink 1053">
                    <a:extLst>
                      <a:ext uri="{FF2B5EF4-FFF2-40B4-BE49-F238E27FC236}">
                        <a16:creationId xmlns:a16="http://schemas.microsoft.com/office/drawing/2014/main" id="{03C660B9-B4E9-F784-FBCA-B57D1DB2C56B}"/>
                      </a:ext>
                    </a:extLst>
                  </p:cNvPr>
                  <p:cNvPicPr/>
                  <p:nvPr/>
                </p:nvPicPr>
                <p:blipFill>
                  <a:blip r:embed="rId18"/>
                  <a:stretch>
                    <a:fillRect/>
                  </a:stretch>
                </p:blipFill>
                <p:spPr>
                  <a:xfrm>
                    <a:off x="2979774" y="4280966"/>
                    <a:ext cx="403214" cy="333007"/>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xmlns="">
              <p:pic>
                <p:nvPicPr>
                  <p:cNvPr id="1055" name="Ink 1054">
                    <a:extLst>
                      <a:ext uri="{FF2B5EF4-FFF2-40B4-BE49-F238E27FC236}">
                        <a16:creationId xmlns:a16="http://schemas.microsoft.com/office/drawing/2014/main" id="{DD9B9B2C-AE04-CB10-8DA2-58081870F010}"/>
                      </a:ext>
                    </a:extLst>
                  </p:cNvPr>
                  <p:cNvPicPr/>
                  <p:nvPr/>
                </p:nvPicPr>
                <p:blipFill>
                  <a:blip r:embed="rId20"/>
                  <a:stretch>
                    <a:fillRect/>
                  </a:stretch>
                </p:blipFill>
                <p:spPr>
                  <a:xfrm>
                    <a:off x="3268474" y="4731335"/>
                    <a:ext cx="152692" cy="12455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xmlns="">
              <p:pic>
                <p:nvPicPr>
                  <p:cNvPr id="1056" name="Ink 1055">
                    <a:extLst>
                      <a:ext uri="{FF2B5EF4-FFF2-40B4-BE49-F238E27FC236}">
                        <a16:creationId xmlns:a16="http://schemas.microsoft.com/office/drawing/2014/main" id="{01C39C90-37B9-C56F-2BCE-857B05D9BA1A}"/>
                      </a:ext>
                    </a:extLst>
                  </p:cNvPr>
                  <p:cNvPicPr/>
                  <p:nvPr/>
                </p:nvPicPr>
                <p:blipFill>
                  <a:blip r:embed="rId22"/>
                  <a:stretch>
                    <a:fillRect/>
                  </a:stretch>
                </p:blipFill>
                <p:spPr>
                  <a:xfrm>
                    <a:off x="3347624" y="4785003"/>
                    <a:ext cx="90871" cy="11909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xmlns="">
              <p:pic>
                <p:nvPicPr>
                  <p:cNvPr id="1057" name="Ink 1056">
                    <a:extLst>
                      <a:ext uri="{FF2B5EF4-FFF2-40B4-BE49-F238E27FC236}">
                        <a16:creationId xmlns:a16="http://schemas.microsoft.com/office/drawing/2014/main" id="{02B4CDA5-992F-ED2B-BDC8-001252EACCF4}"/>
                      </a:ext>
                    </a:extLst>
                  </p:cNvPr>
                  <p:cNvPicPr/>
                  <p:nvPr/>
                </p:nvPicPr>
                <p:blipFill>
                  <a:blip r:embed="rId24"/>
                  <a:stretch>
                    <a:fillRect/>
                  </a:stretch>
                </p:blipFill>
                <p:spPr>
                  <a:xfrm>
                    <a:off x="2789429" y="4190250"/>
                    <a:ext cx="60667" cy="1382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5">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xmlns="">
              <p:pic>
                <p:nvPicPr>
                  <p:cNvPr id="1062" name="Ink 1061">
                    <a:extLst>
                      <a:ext uri="{FF2B5EF4-FFF2-40B4-BE49-F238E27FC236}">
                        <a16:creationId xmlns:a16="http://schemas.microsoft.com/office/drawing/2014/main" id="{1C7790E4-4DFD-D001-EC48-ABA67CD0425E}"/>
                      </a:ext>
                    </a:extLst>
                  </p:cNvPr>
                  <p:cNvPicPr/>
                  <p:nvPr/>
                </p:nvPicPr>
                <p:blipFill>
                  <a:blip r:embed="rId26"/>
                  <a:stretch>
                    <a:fillRect/>
                  </a:stretch>
                </p:blipFill>
                <p:spPr>
                  <a:xfrm>
                    <a:off x="3811616" y="4676794"/>
                    <a:ext cx="29736" cy="388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xmlns="">
              <p:pic>
                <p:nvPicPr>
                  <p:cNvPr id="1063" name="Ink 1062">
                    <a:extLst>
                      <a:ext uri="{FF2B5EF4-FFF2-40B4-BE49-F238E27FC236}">
                        <a16:creationId xmlns:a16="http://schemas.microsoft.com/office/drawing/2014/main" id="{9A463368-7108-A4F0-8584-E4518A1A192D}"/>
                      </a:ext>
                    </a:extLst>
                  </p:cNvPr>
                  <p:cNvPicPr/>
                  <p:nvPr/>
                </p:nvPicPr>
                <p:blipFill>
                  <a:blip r:embed="rId28"/>
                  <a:stretch>
                    <a:fillRect/>
                  </a:stretch>
                </p:blipFill>
                <p:spPr>
                  <a:xfrm>
                    <a:off x="3793023" y="4332806"/>
                    <a:ext cx="416515" cy="391327"/>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xmlns="">
              <p:pic>
                <p:nvPicPr>
                  <p:cNvPr id="1064" name="Ink 1063">
                    <a:extLst>
                      <a:ext uri="{FF2B5EF4-FFF2-40B4-BE49-F238E27FC236}">
                        <a16:creationId xmlns:a16="http://schemas.microsoft.com/office/drawing/2014/main" id="{934F3A84-944D-5F04-78FC-7958A8A7CCD9}"/>
                      </a:ext>
                    </a:extLst>
                  </p:cNvPr>
                  <p:cNvPicPr/>
                  <p:nvPr/>
                </p:nvPicPr>
                <p:blipFill>
                  <a:blip r:embed="rId30"/>
                  <a:stretch>
                    <a:fillRect/>
                  </a:stretch>
                </p:blipFill>
                <p:spPr>
                  <a:xfrm>
                    <a:off x="3791227" y="4466014"/>
                    <a:ext cx="349189" cy="396712"/>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xmlns="">
              <p:pic>
                <p:nvPicPr>
                  <p:cNvPr id="1065" name="Ink 1064">
                    <a:extLst>
                      <a:ext uri="{FF2B5EF4-FFF2-40B4-BE49-F238E27FC236}">
                        <a16:creationId xmlns:a16="http://schemas.microsoft.com/office/drawing/2014/main" id="{2F27C85B-FBE5-AF84-E7F1-B6A28F2CF4E6}"/>
                      </a:ext>
                    </a:extLst>
                  </p:cNvPr>
                  <p:cNvPicPr/>
                  <p:nvPr/>
                </p:nvPicPr>
                <p:blipFill>
                  <a:blip r:embed="rId32"/>
                  <a:stretch>
                    <a:fillRect/>
                  </a:stretch>
                </p:blipFill>
                <p:spPr>
                  <a:xfrm>
                    <a:off x="3782224" y="4372413"/>
                    <a:ext cx="408953" cy="511914"/>
                  </a:xfrm>
                  <a:prstGeom prst="rect">
                    <a:avLst/>
                  </a:prstGeom>
                </p:spPr>
              </p:pic>
            </mc:Fallback>
          </mc:AlternateContent>
        </p:grpSp>
      </p:grpSp>
      <p:grpSp>
        <p:nvGrpSpPr>
          <p:cNvPr id="1066" name="Group 1065">
            <a:extLst>
              <a:ext uri="{FF2B5EF4-FFF2-40B4-BE49-F238E27FC236}">
                <a16:creationId xmlns:a16="http://schemas.microsoft.com/office/drawing/2014/main" id="{5F6E5655-9D5F-D4E1-BF54-2494D3390C21}"/>
              </a:ext>
            </a:extLst>
          </p:cNvPr>
          <p:cNvGrpSpPr/>
          <p:nvPr/>
        </p:nvGrpSpPr>
        <p:grpSpPr>
          <a:xfrm>
            <a:off x="13057752" y="1759868"/>
            <a:ext cx="3782101" cy="5428045"/>
            <a:chOff x="8066293" y="1821019"/>
            <a:chExt cx="3782101" cy="5428045"/>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3"/>
            <a:stretch>
              <a:fillRect/>
            </a:stretch>
          </p:blipFill>
          <p:spPr>
            <a:xfrm>
              <a:off x="8308171" y="1821019"/>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628676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grpSp>
        <p:nvGrpSpPr>
          <p:cNvPr id="1072" name="Group 1071">
            <a:extLst>
              <a:ext uri="{FF2B5EF4-FFF2-40B4-BE49-F238E27FC236}">
                <a16:creationId xmlns:a16="http://schemas.microsoft.com/office/drawing/2014/main" id="{11FC3A92-30AD-6F79-55A7-5AA2ABC85DCB}"/>
              </a:ext>
            </a:extLst>
          </p:cNvPr>
          <p:cNvGrpSpPr/>
          <p:nvPr/>
        </p:nvGrpSpPr>
        <p:grpSpPr>
          <a:xfrm>
            <a:off x="577261" y="7083059"/>
            <a:ext cx="11227388" cy="3870156"/>
            <a:chOff x="577261" y="7083059"/>
            <a:chExt cx="11227388" cy="3870156"/>
          </a:xfrm>
        </p:grpSpPr>
        <p:sp>
          <p:nvSpPr>
            <p:cNvPr id="1069" name="TextBox 1068">
              <a:extLst>
                <a:ext uri="{FF2B5EF4-FFF2-40B4-BE49-F238E27FC236}">
                  <a16:creationId xmlns:a16="http://schemas.microsoft.com/office/drawing/2014/main" id="{BC227845-3530-B048-77EE-E97F27F8AC9C}"/>
                </a:ext>
              </a:extLst>
            </p:cNvPr>
            <p:cNvSpPr txBox="1"/>
            <p:nvPr/>
          </p:nvSpPr>
          <p:spPr>
            <a:xfrm>
              <a:off x="577261" y="70830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070" name="TextBox 1069">
              <a:extLst>
                <a:ext uri="{FF2B5EF4-FFF2-40B4-BE49-F238E27FC236}">
                  <a16:creationId xmlns:a16="http://schemas.microsoft.com/office/drawing/2014/main" id="{E55975D5-2DD5-4B89-091C-BC0DD08FC274}"/>
                </a:ext>
              </a:extLst>
            </p:cNvPr>
            <p:cNvSpPr txBox="1"/>
            <p:nvPr/>
          </p:nvSpPr>
          <p:spPr>
            <a:xfrm>
              <a:off x="577261" y="86542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1071" name="TextBox 1070">
              <a:extLst>
                <a:ext uri="{FF2B5EF4-FFF2-40B4-BE49-F238E27FC236}">
                  <a16:creationId xmlns:a16="http://schemas.microsoft.com/office/drawing/2014/main" id="{6ADA40AC-96BB-7C58-C0AE-C927966B70E8}"/>
                </a:ext>
              </a:extLst>
            </p:cNvPr>
            <p:cNvSpPr txBox="1"/>
            <p:nvPr/>
          </p:nvSpPr>
          <p:spPr>
            <a:xfrm>
              <a:off x="6357347" y="70830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grpSp>
      <p:sp>
        <p:nvSpPr>
          <p:cNvPr id="11" name="Título 1">
            <a:extLst>
              <a:ext uri="{FF2B5EF4-FFF2-40B4-BE49-F238E27FC236}">
                <a16:creationId xmlns:a16="http://schemas.microsoft.com/office/drawing/2014/main" id="{E58899C7-55FF-0DF4-F99A-923B7CCB0E53}"/>
              </a:ext>
            </a:extLst>
          </p:cNvPr>
          <p:cNvSpPr txBox="1">
            <a:spLocks/>
          </p:cNvSpPr>
          <p:nvPr/>
        </p:nvSpPr>
        <p:spPr>
          <a:xfrm>
            <a:off x="384174" y="3810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nSpc>
                <a:spcPct val="125000"/>
              </a:lnSpc>
            </a:pPr>
            <a:r>
              <a:rPr lang="en-US" dirty="0">
                <a:latin typeface="Arial" panose="020B0604020202020204" pitchFamily="34" charset="0"/>
                <a:cs typeface="Arial" panose="020B0604020202020204" pitchFamily="34" charset="0"/>
              </a:rPr>
              <a:t>We can model this system in 2D as a differential drive mobile robot with a heading angle and velocity</a:t>
            </a:r>
          </a:p>
        </p:txBody>
      </p:sp>
      <p:sp>
        <p:nvSpPr>
          <p:cNvPr id="18" name="Rectangle 17">
            <a:extLst>
              <a:ext uri="{FF2B5EF4-FFF2-40B4-BE49-F238E27FC236}">
                <a16:creationId xmlns:a16="http://schemas.microsoft.com/office/drawing/2014/main" id="{B2BA1FCE-9D08-F7E9-4ECE-4E1CCD233939}"/>
              </a:ext>
            </a:extLst>
          </p:cNvPr>
          <p:cNvSpPr/>
          <p:nvPr/>
        </p:nvSpPr>
        <p:spPr>
          <a:xfrm>
            <a:off x="384174" y="4438880"/>
            <a:ext cx="11420475" cy="387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600" b="1" dirty="0">
                <a:latin typeface="Georgia" panose="02040502050405020303" pitchFamily="18" charset="0"/>
                <a:cs typeface="Calibri" panose="020F0502020204030204" pitchFamily="34" charset="0"/>
              </a:rPr>
              <a:t>Key considerations and limitations of this kinematic model</a:t>
            </a:r>
          </a:p>
        </p:txBody>
      </p:sp>
      <p:pic>
        <p:nvPicPr>
          <p:cNvPr id="24" name="Picture 23">
            <a:extLst>
              <a:ext uri="{FF2B5EF4-FFF2-40B4-BE49-F238E27FC236}">
                <a16:creationId xmlns:a16="http://schemas.microsoft.com/office/drawing/2014/main" id="{59A694A2-2FE3-3CEE-FFB0-2D0D33314E2E}"/>
              </a:ext>
            </a:extLst>
          </p:cNvPr>
          <p:cNvPicPr>
            <a:picLocks noChangeAspect="1"/>
          </p:cNvPicPr>
          <p:nvPr/>
        </p:nvPicPr>
        <p:blipFill>
          <a:blip r:embed="rId34"/>
          <a:stretch>
            <a:fillRect/>
          </a:stretch>
        </p:blipFill>
        <p:spPr>
          <a:xfrm>
            <a:off x="10086207" y="3189315"/>
            <a:ext cx="1734318" cy="909021"/>
          </a:xfrm>
          <a:prstGeom prst="rect">
            <a:avLst/>
          </a:prstGeom>
        </p:spPr>
      </p:pic>
      <p:sp>
        <p:nvSpPr>
          <p:cNvPr id="26" name="TextBox 25">
            <a:extLst>
              <a:ext uri="{FF2B5EF4-FFF2-40B4-BE49-F238E27FC236}">
                <a16:creationId xmlns:a16="http://schemas.microsoft.com/office/drawing/2014/main" id="{940B4FC7-F409-D0A7-7584-5BF76061362C}"/>
              </a:ext>
            </a:extLst>
          </p:cNvPr>
          <p:cNvSpPr txBox="1"/>
          <p:nvPr/>
        </p:nvSpPr>
        <p:spPr>
          <a:xfrm>
            <a:off x="9587670" y="4074186"/>
            <a:ext cx="2320115" cy="307777"/>
          </a:xfrm>
          <a:prstGeom prst="rect">
            <a:avLst/>
          </a:prstGeom>
          <a:noFill/>
        </p:spPr>
        <p:txBody>
          <a:bodyPr wrap="square">
            <a:spAutoFit/>
          </a:bodyPr>
          <a:lstStyle/>
          <a:p>
            <a:r>
              <a:rPr lang="en-US" sz="1400" dirty="0">
                <a:latin typeface="Calibri" panose="020F0502020204030204" pitchFamily="34" charset="0"/>
                <a:cs typeface="Calibri" panose="020F0502020204030204" pitchFamily="34" charset="0"/>
              </a:rPr>
              <a:t>(Assuming no wheel slipping)</a:t>
            </a:r>
          </a:p>
        </p:txBody>
      </p:sp>
      <p:sp>
        <p:nvSpPr>
          <p:cNvPr id="27" name="Footer Placeholder 4">
            <a:extLst>
              <a:ext uri="{FF2B5EF4-FFF2-40B4-BE49-F238E27FC236}">
                <a16:creationId xmlns:a16="http://schemas.microsoft.com/office/drawing/2014/main" id="{862240BD-36C7-8954-9C46-310C06D47D99}"/>
              </a:ext>
            </a:extLst>
          </p:cNvPr>
          <p:cNvSpPr>
            <a:spLocks noGrp="1"/>
          </p:cNvSpPr>
          <p:nvPr>
            <p:ph type="ftr" sz="quarter" idx="3"/>
          </p:nvPr>
        </p:nvSpPr>
        <p:spPr>
          <a:xfrm>
            <a:off x="337541" y="6388101"/>
            <a:ext cx="11244859" cy="312964"/>
          </a:xfrm>
        </p:spPr>
        <p:txBody>
          <a:bodyPr/>
          <a:lstStyle/>
          <a:p>
            <a:r>
              <a:rPr lang="en-US" dirty="0">
                <a:latin typeface="Calibri" panose="020F0502020204030204" pitchFamily="34" charset="0"/>
                <a:cs typeface="Calibri" panose="020F0502020204030204" pitchFamily="34" charset="0"/>
              </a:rPr>
              <a:t>Source: Robot Modeling and Control (Spong, Hutchinson, Vidyasagar)</a:t>
            </a:r>
          </a:p>
          <a:p>
            <a:endParaRPr lang="en-US" i="1"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A37FCE39-6DEC-58A2-E46C-E5416EF86BD8}"/>
              </a:ext>
            </a:extLst>
          </p:cNvPr>
          <p:cNvSpPr txBox="1"/>
          <p:nvPr/>
        </p:nvSpPr>
        <p:spPr>
          <a:xfrm>
            <a:off x="6620579" y="8958124"/>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sp>
        <p:nvSpPr>
          <p:cNvPr id="29" name="TextBox 28">
            <a:extLst>
              <a:ext uri="{FF2B5EF4-FFF2-40B4-BE49-F238E27FC236}">
                <a16:creationId xmlns:a16="http://schemas.microsoft.com/office/drawing/2014/main" id="{EFD17E32-38CC-0CA5-7174-C1A8490FF45A}"/>
              </a:ext>
            </a:extLst>
          </p:cNvPr>
          <p:cNvSpPr txBox="1"/>
          <p:nvPr/>
        </p:nvSpPr>
        <p:spPr>
          <a:xfrm>
            <a:off x="6849680" y="10121156"/>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838220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294</TotalTime>
  <Words>8977</Words>
  <Application>Microsoft Office PowerPoint</Application>
  <PresentationFormat>Widescreen</PresentationFormat>
  <Paragraphs>1396</Paragraphs>
  <Slides>117</Slides>
  <Notes>43</Notes>
  <HiddenSlides>96</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117</vt:i4>
      </vt:variant>
    </vt:vector>
  </HeadingPairs>
  <TitlesOfParts>
    <vt:vector size="136" baseType="lpstr">
      <vt:lpstr>AdvP6965</vt:lpstr>
      <vt:lpstr>Arial</vt:lpstr>
      <vt:lpstr>Calibri</vt:lpstr>
      <vt:lpstr>CMR10</vt:lpstr>
      <vt:lpstr>Franklin Gothic Medium</vt:lpstr>
      <vt:lpstr>Georgia</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Assumed Inputs for localization and navigation Proposed methodology for   (a) Localization   (b) Path Planning   (c) Trajectory Generation   (d) Control System Design Criteria and Key Risks Appendix </vt:lpstr>
      <vt:lpstr>PowerPoint Presentation</vt:lpstr>
      <vt:lpstr>Assuming access to an intraoperative MRI feed / fluoroscopy </vt:lpstr>
      <vt:lpstr>PowerPoint Presentation</vt:lpstr>
      <vt:lpstr>Designing an occupancy grid schema to keep track of obstacles in the workspace (in-vivo)</vt:lpstr>
      <vt:lpstr>We can populate the occupancy grid using image filtering techniques &amp; localize the robot using Bayesian estimators</vt:lpstr>
      <vt:lpstr>Illustrative Model of robot, magnetic field controller, X-ray</vt:lpstr>
      <vt:lpstr>PowerPoint Presentation</vt:lpstr>
      <vt:lpstr>Potential field and gradient descent approach to path planning</vt:lpstr>
      <vt:lpstr>Interpolate between the waypoints generated by gradient descent using quintic polynomial trajectories</vt:lpstr>
      <vt:lpstr>Using PID loops to ensure robot follows the quintic polynomial-based approach discussed earlier</vt:lpstr>
      <vt:lpstr>PowerPoint Presentation</vt:lpstr>
      <vt:lpstr>Pros / Cons of medical vision modes which can be used for localization</vt:lpstr>
      <vt:lpstr>Pros / Cons of potential field approach to path planning</vt:lpstr>
      <vt:lpstr>Pros / Cons of closed loop PID control vs adaptive control methods</vt:lpstr>
      <vt:lpstr>Broader surgical robotics issues which might require special consideration when designing our system</vt:lpstr>
      <vt:lpstr>PowerPoint Presentation</vt:lpstr>
      <vt:lpstr>SLAM using onboard sensor data [if possible to have onboard odometry]</vt:lpstr>
      <vt:lpstr>Alternatives to 5th degree polynomial-based trajectory generation (Cubic polynomial, Minimum-time trajectory)</vt:lpstr>
      <vt:lpstr>Deeper Dive into PID control and potential stability considerations </vt:lpstr>
      <vt:lpstr>Template – Section Divider</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62</cp:revision>
  <dcterms:created xsi:type="dcterms:W3CDTF">2020-07-31T20:30:33Z</dcterms:created>
  <dcterms:modified xsi:type="dcterms:W3CDTF">2023-01-24T08:23: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